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5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8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9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10.xml" ContentType="application/vnd.openxmlformats-officedocument.theme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11" r:id="rId11"/>
    <p:sldMasterId id="2147483969" r:id="rId12"/>
    <p:sldMasterId id="2147483655" r:id="rId13"/>
    <p:sldMasterId id="2147484047" r:id="rId14"/>
  </p:sldMasterIdLst>
  <p:notesMasterIdLst>
    <p:notesMasterId r:id="rId22"/>
  </p:notesMasterIdLst>
  <p:sldIdLst>
    <p:sldId id="2147477634" r:id="rId15"/>
    <p:sldId id="2147375763" r:id="rId16"/>
    <p:sldId id="2147477577" r:id="rId17"/>
    <p:sldId id="2147477676" r:id="rId18"/>
    <p:sldId id="2147477677" r:id="rId19"/>
    <p:sldId id="2147477678" r:id="rId20"/>
    <p:sldId id="2147477631" r:id="rId21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5DC88A-F4F1-83A8-AAC8-9E711694AAD7}" name="David Beale" initials="DB" userId="S::david.beale@essencemediacom.com::c94275c9-8e1c-4b9f-badb-02844e3182b1" providerId="AD"/>
  <p188:author id="{60B746AC-F4F6-A0A8-B6A3-6EABD4A72205}" name="Issaree Veerakanit" initials="IV" userId="S::issaree.veerakanit1@essencemediacom.com::882c589f-0b79-4b77-b121-23040f57b8c0" providerId="AD"/>
  <p188:author id="{2051EAD5-68F8-F7DB-DB7F-B973296B82BB}" name="Thomas Katryniak" initials="" userId="S::thomas.katryniak@essencemediacom.com::78a08f01-4d7d-40e6-9c7c-04f7a586f9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1E"/>
    <a:srgbClr val="FFC000"/>
    <a:srgbClr val="009569"/>
    <a:srgbClr val="404E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21"/>
  </p:normalViewPr>
  <p:slideViewPr>
    <p:cSldViewPr snapToGrid="0">
      <p:cViewPr varScale="1">
        <p:scale>
          <a:sx n="108" d="100"/>
          <a:sy n="108" d="100"/>
        </p:scale>
        <p:origin x="73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6C-4A45-870D-2373E816FEF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6C-4A45-870D-2373E816FEF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6C-4A45-870D-2373E816FEF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6C-4A45-870D-2373E816FEF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6C-4A45-870D-2373E816FEF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886C-4A45-870D-2373E816FEF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886C-4A45-870D-2373E816FEF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886C-4A45-870D-2373E816FEF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86C-4A45-870D-2373E816FEF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86C-4A45-870D-2373E816F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3D-49A0-87EB-8004071B75B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3D-49A0-87EB-8004071B75B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3D-49A0-87EB-8004071B75B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3D-49A0-87EB-8004071B75B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3D-49A0-87EB-8004071B75B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F63D-49A0-87EB-8004071B75B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F63D-49A0-87EB-8004071B75B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F63D-49A0-87EB-8004071B75B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F63D-49A0-87EB-8004071B75B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3D-49A0-87EB-8004071B7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7-4980-8FF0-14C2B3DF1380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7-4980-8FF0-14C2B3DF1380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7-4980-8FF0-14C2B3DF1380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A7-4980-8FF0-14C2B3DF1380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A7-4980-8FF0-14C2B3DF1380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9316461982745E-3"/>
                  <c:y val="-2.2121864138273474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39A7-4980-8FF0-14C2B3DF1380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39A7-4980-8FF0-14C2B3DF1380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39A7-4980-8FF0-14C2B3DF1380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A7-4980-8FF0-14C2B3DF1380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9A7-4980-8FF0-14C2B3DF1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ln w="19050" cap="rnd" cmpd="sng" algn="ctr">
              <a:solidFill>
                <a:srgbClr val="FD4D8B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FD4D8B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2:$M$2</c:f>
              <c:numCache>
                <c:formatCode>0</c:formatCode>
                <c:ptCount val="12"/>
                <c:pt idx="1">
                  <c:v>976.57</c:v>
                </c:pt>
                <c:pt idx="2">
                  <c:v>596.79</c:v>
                </c:pt>
                <c:pt idx="4">
                  <c:v>596.79</c:v>
                </c:pt>
                <c:pt idx="5">
                  <c:v>976.57</c:v>
                </c:pt>
                <c:pt idx="7" formatCode="General">
                  <c:v>650</c:v>
                </c:pt>
                <c:pt idx="8" formatCode="General">
                  <c:v>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D0-BF40-A970-560CCB80E52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>
              <a:solidFill>
                <a:schemeClr val="dk1">
                  <a:lumMod val="35000"/>
                  <a:lumOff val="65000"/>
                </a:schemeClr>
              </a:solidFill>
            </a:ln>
            <a:effectLst/>
          </c:spPr>
        </c:dropLines>
        <c:smooth val="0"/>
        <c:axId val="448493296"/>
        <c:axId val="448440832"/>
      </c:lineChart>
      <c:catAx>
        <c:axId val="4484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448440832"/>
        <c:crosses val="autoZero"/>
        <c:auto val="1"/>
        <c:lblAlgn val="ctr"/>
        <c:lblOffset val="100"/>
        <c:noMultiLvlLbl val="0"/>
      </c:catAx>
      <c:valAx>
        <c:axId val="448440832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extTo"/>
        <c:crossAx val="448493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cs:styleClr val="auto"/>
    </cs:fontRef>
    <cs:spPr/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915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13/10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16518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pn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10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EBB1C4A-6537-649C-7791-23EEE4D66E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6615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74861798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24260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93543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4840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5973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65867245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224580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4518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1064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35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596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4163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7258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7372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5579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0144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0797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79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8225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5363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1700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928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604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330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785884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239303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62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2191585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89782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7123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9923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68598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0948201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530761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533105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407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178187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8607894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863079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631197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4272628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22761800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2829358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9130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062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412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0293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976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44981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854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3713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102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5515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7313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6584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056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1BAC0FB-8425-952C-E9FB-4AAB84D080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0007816-5D90-B5EF-608E-A575A9A2E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BF7E493-879D-DF38-3015-2B9322FA6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24514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85164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BB0C135-AA3A-2B51-3D0A-A562675CD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5039121" cy="108870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4FAA0A8-6E7A-EA86-CF70-3DDC56A3F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5039121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D52EF92-6D3F-EED1-FB49-C48294396BFC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791145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C124FBD-F2C4-279C-F9B0-5ABF4EE88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584" y="1852409"/>
            <a:ext cx="523573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88A9F1BF-CE47-6154-1BCB-84E3E2ED9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584" y="630452"/>
            <a:ext cx="523573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681E20-3F63-A276-39F5-6FCDBA23897B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B65896-BA90-975B-367C-AE317FB42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1642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1852409"/>
            <a:ext cx="4020056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6736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0"/>
            <a:ext cx="11410790" cy="607679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367067" cy="3841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B740E27-A29F-492B-08E9-082B59BB4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4531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alt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80262" y="1836110"/>
            <a:ext cx="10411738" cy="5021889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0809" y="2204487"/>
            <a:ext cx="8769567" cy="38206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D8233-0493-FA29-763F-F87F5DB8DC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1573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1D15AFB-5EB5-6859-330E-5D38D23AB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9917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0BA3780-E198-F9AC-0BB9-F1C2C8156E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0" y="1546917"/>
            <a:ext cx="4064000" cy="4401332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EFA4C51-582F-EAB4-E4E1-3A9AFC449F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800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2" cy="9164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00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9738E54E-9756-7427-D2F0-6956A56C5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826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A1CE42A-F0CC-F889-601A-FF9A290D0E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8371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101180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 al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466563"/>
            <a:ext cx="12192000" cy="4391435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3309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4354D-1865-ED5F-009C-780CE8306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ED6D24-311D-8481-73DE-B5F7E4C684D8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3C89EB02-D30D-DD07-85C6-CD7EF8EF47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000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3BB639-2CF9-9BD7-315B-640082FF33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38691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3368FC9-3152-64DD-900A-43FF7BFBC8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59261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18577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60B0975-048D-10A5-BE97-E820CA57CAE3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B55C8373-2FAF-826F-6B5F-588CC4B9B8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444A488-AA2C-F040-A0F8-D64B913E3D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236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 </a:t>
            </a:r>
            <a:br>
              <a:rPr lang="en-GB"/>
            </a:br>
            <a:r>
              <a:rPr lang="en-GB"/>
              <a:t>for listen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AC7785F-1C5C-463C-D340-DD1BA7A6320B}"/>
              </a:ext>
            </a:extLst>
          </p:cNvPr>
          <p:cNvCxnSpPr>
            <a:cxnSpLocks/>
          </p:cNvCxnSpPr>
          <p:nvPr userDrawn="1"/>
        </p:nvCxnSpPr>
        <p:spPr>
          <a:xfrm>
            <a:off x="5751074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DD4D185-64C2-2715-B28D-7015374C88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2576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73781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7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54117" y="-1"/>
            <a:ext cx="8331866" cy="1882585"/>
          </a:xfrm>
          <a:solidFill>
            <a:schemeClr val="bg2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6218" y="708004"/>
            <a:ext cx="7965782" cy="1174580"/>
          </a:xfrm>
        </p:spPr>
        <p:txBody>
          <a:bodyPr anchor="t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D18BDCF-2CAA-0109-CDBB-C68EA25B6E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5" y="6362533"/>
            <a:ext cx="1169392" cy="306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F79B367-394D-390C-B619-216A26D7CDD1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68CB876D-855A-C17A-648E-0C55580AA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0447"/>
          <a:stretch/>
        </p:blipFill>
        <p:spPr>
          <a:xfrm>
            <a:off x="0" y="664160"/>
            <a:ext cx="3470500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865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3429000"/>
            <a:ext cx="12185983" cy="3429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048400" y="-2481943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-1"/>
            <a:ext cx="3430800" cy="343080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0329" y="1"/>
            <a:ext cx="8211671" cy="3428998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or sec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EE6174C-8B75-B6C9-0C97-8F6809ED35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" y="0"/>
            <a:ext cx="3430800" cy="3428999"/>
          </a:xfrm>
          <a:noFill/>
        </p:spPr>
        <p:txBody>
          <a:bodyPr tIns="251999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5000" b="0" i="0">
                <a:gradFill>
                  <a:gsLst>
                    <a:gs pos="0">
                      <a:schemeClr val="accent2"/>
                    </a:gs>
                    <a:gs pos="99000">
                      <a:schemeClr val="accent1"/>
                    </a:gs>
                  </a:gsLst>
                  <a:lin ang="0" scaled="1"/>
                </a:gradFill>
                <a:latin typeface="Poppins Thin" pitchFamily="2" charset="77"/>
                <a:cs typeface="Poppins Thin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0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09BA30-1DEC-1819-B3B4-4905A37F994A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8EA14BF4-7169-3089-97E5-F93D27691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4801" y="3428998"/>
            <a:ext cx="8774265" cy="10104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9AA912B-3510-54DE-244F-D9BBC5C30F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42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637" y="830948"/>
            <a:ext cx="8340725" cy="4572003"/>
          </a:xfrm>
        </p:spPr>
        <p:txBody>
          <a:bodyPr anchor="ctr"/>
          <a:lstStyle>
            <a:lvl1pPr algn="ctr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</a:t>
            </a:r>
            <a:br>
              <a:rPr lang="en-GB"/>
            </a:br>
            <a:r>
              <a:rPr lang="en-GB"/>
              <a:t>goes her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75ED0BB-E2C9-7C0C-26E2-BC1652112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8746FD9-2940-C5E7-3A89-0B78583FF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FD14E3-0BA7-F7B6-B730-48F6007D9B9E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7258B20-4977-CDCF-4986-9219A221F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1585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1045036"/>
            <a:ext cx="12185983" cy="476792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741" y="1292535"/>
            <a:ext cx="9859424" cy="4272930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ig statement goes her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C4C770-A668-E884-4124-234CC37016D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FDA301-1BF5-380B-B3C4-E5F169DE9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82F51A6-2172-AC56-BF64-B833C8F9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4100"/>
          <a:stretch/>
        </p:blipFill>
        <p:spPr>
          <a:xfrm>
            <a:off x="7281207" y="303838"/>
            <a:ext cx="4904777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25119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3033823"/>
            <a:ext cx="2725383" cy="2857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2725383" cy="23268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Browser">
            <a:extLst>
              <a:ext uri="{FF2B5EF4-FFF2-40B4-BE49-F238E27FC236}">
                <a16:creationId xmlns:a16="http://schemas.microsoft.com/office/drawing/2014/main" id="{4CC47954-EA8C-6B3D-7274-E5C0B3CAA158}"/>
              </a:ext>
            </a:extLst>
          </p:cNvPr>
          <p:cNvGrpSpPr/>
          <p:nvPr userDrawn="1"/>
        </p:nvGrpSpPr>
        <p:grpSpPr>
          <a:xfrm>
            <a:off x="3748254" y="904878"/>
            <a:ext cx="8107831" cy="4911542"/>
            <a:chOff x="3690548" y="429354"/>
            <a:chExt cx="7883614" cy="5425662"/>
          </a:xfrm>
        </p:grpSpPr>
        <p:sp>
          <p:nvSpPr>
            <p:cNvPr id="19" name="Wireframe dropshadow">
              <a:extLst>
                <a:ext uri="{FF2B5EF4-FFF2-40B4-BE49-F238E27FC236}">
                  <a16:creationId xmlns:a16="http://schemas.microsoft.com/office/drawing/2014/main" id="{D2354F2C-0E52-DF17-B18B-DB6A228FD3B1}"/>
                </a:ext>
              </a:extLst>
            </p:cNvPr>
            <p:cNvSpPr/>
            <p:nvPr/>
          </p:nvSpPr>
          <p:spPr>
            <a:xfrm>
              <a:off x="3690548" y="429354"/>
              <a:ext cx="7883611" cy="5425662"/>
            </a:xfrm>
            <a:prstGeom prst="roundRect">
              <a:avLst>
                <a:gd name="adj" fmla="val 1875"/>
              </a:avLst>
            </a:prstGeom>
            <a:solidFill>
              <a:srgbClr val="FFFFFF"/>
            </a:solidFill>
            <a:ln>
              <a:noFill/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sp>
          <p:nvSpPr>
            <p:cNvPr id="25" name="Browser menu top">
              <a:extLst>
                <a:ext uri="{FF2B5EF4-FFF2-40B4-BE49-F238E27FC236}">
                  <a16:creationId xmlns:a16="http://schemas.microsoft.com/office/drawing/2014/main" id="{51392A84-07DC-5BF7-D4F9-286803FF7B53}"/>
                </a:ext>
              </a:extLst>
            </p:cNvPr>
            <p:cNvSpPr/>
            <p:nvPr/>
          </p:nvSpPr>
          <p:spPr>
            <a:xfrm>
              <a:off x="3690551" y="429354"/>
              <a:ext cx="7883611" cy="318791"/>
            </a:xfrm>
            <a:prstGeom prst="round2SameRect">
              <a:avLst>
                <a:gd name="adj1" fmla="val 33321"/>
                <a:gd name="adj2" fmla="val 0"/>
              </a:avLst>
            </a:prstGeom>
            <a:gradFill>
              <a:gsLst>
                <a:gs pos="72000">
                  <a:srgbClr val="D8D8D8">
                    <a:lumMod val="85323"/>
                    <a:lumOff val="14677"/>
                  </a:srgbClr>
                </a:gs>
                <a:gs pos="0">
                  <a:srgbClr val="616161">
                    <a:lumMod val="5000"/>
                    <a:lumOff val="95000"/>
                  </a:srgbClr>
                </a:gs>
                <a:gs pos="99000">
                  <a:srgbClr val="616161">
                    <a:lumMod val="30000"/>
                    <a:lumOff val="7000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grpSp>
          <p:nvGrpSpPr>
            <p:cNvPr id="21" name="Browser menu circles">
              <a:extLst>
                <a:ext uri="{FF2B5EF4-FFF2-40B4-BE49-F238E27FC236}">
                  <a16:creationId xmlns:a16="http://schemas.microsoft.com/office/drawing/2014/main" id="{56819352-0518-3256-5831-86AEFC395DB9}"/>
                </a:ext>
              </a:extLst>
            </p:cNvPr>
            <p:cNvGrpSpPr/>
            <p:nvPr/>
          </p:nvGrpSpPr>
          <p:grpSpPr>
            <a:xfrm>
              <a:off x="3832208" y="546802"/>
              <a:ext cx="423588" cy="101090"/>
              <a:chOff x="3832208" y="546802"/>
              <a:chExt cx="423588" cy="101090"/>
            </a:xfrm>
            <a:solidFill>
              <a:srgbClr val="616161">
                <a:lumMod val="60000"/>
                <a:lumOff val="40000"/>
              </a:srgbClr>
            </a:solidFill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C7C791C-90A1-FD07-7ED8-85597FADD868}"/>
                  </a:ext>
                </a:extLst>
              </p:cNvPr>
              <p:cNvSpPr/>
              <p:nvPr/>
            </p:nvSpPr>
            <p:spPr>
              <a:xfrm>
                <a:off x="383220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0B7C597-55B4-7457-91CB-118DB0906453}"/>
                  </a:ext>
                </a:extLst>
              </p:cNvPr>
              <p:cNvSpPr/>
              <p:nvPr/>
            </p:nvSpPr>
            <p:spPr>
              <a:xfrm>
                <a:off x="399771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258CC4DC-5710-D193-135B-EE775BCDC5C6}"/>
                  </a:ext>
                </a:extLst>
              </p:cNvPr>
              <p:cNvSpPr/>
              <p:nvPr/>
            </p:nvSpPr>
            <p:spPr>
              <a:xfrm>
                <a:off x="4168613" y="546802"/>
                <a:ext cx="87183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1D311B7-81CC-1BF0-F5E8-2C26CA54B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48088" y="1193800"/>
            <a:ext cx="8107362" cy="4622800"/>
          </a:xfrm>
          <a:prstGeom prst="round2SameRect">
            <a:avLst>
              <a:gd name="adj1" fmla="val 0"/>
              <a:gd name="adj2" fmla="val 2012"/>
            </a:avLst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6330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907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187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13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4.xml"/><Relationship Id="rId2" Type="http://schemas.openxmlformats.org/officeDocument/2006/relationships/slideLayout" Target="../slideLayouts/slideLayout364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5" Type="http://schemas.openxmlformats.org/officeDocument/2006/relationships/slideLayout" Target="../slideLayouts/slideLayout367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4.xml"/><Relationship Id="rId13" Type="http://schemas.openxmlformats.org/officeDocument/2006/relationships/slideLayout" Target="../slideLayouts/slideLayout389.xml"/><Relationship Id="rId18" Type="http://schemas.openxmlformats.org/officeDocument/2006/relationships/slideLayout" Target="../slideLayouts/slideLayout394.xml"/><Relationship Id="rId3" Type="http://schemas.openxmlformats.org/officeDocument/2006/relationships/slideLayout" Target="../slideLayouts/slideLayout379.xml"/><Relationship Id="rId21" Type="http://schemas.openxmlformats.org/officeDocument/2006/relationships/image" Target="../media/image22.svg"/><Relationship Id="rId7" Type="http://schemas.openxmlformats.org/officeDocument/2006/relationships/slideLayout" Target="../slideLayouts/slideLayout383.xml"/><Relationship Id="rId12" Type="http://schemas.openxmlformats.org/officeDocument/2006/relationships/slideLayout" Target="../slideLayouts/slideLayout388.xml"/><Relationship Id="rId17" Type="http://schemas.openxmlformats.org/officeDocument/2006/relationships/slideLayout" Target="../slideLayouts/slideLayout393.xml"/><Relationship Id="rId2" Type="http://schemas.openxmlformats.org/officeDocument/2006/relationships/slideLayout" Target="../slideLayouts/slideLayout378.xml"/><Relationship Id="rId16" Type="http://schemas.openxmlformats.org/officeDocument/2006/relationships/slideLayout" Target="../slideLayouts/slideLayout392.xml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377.xml"/><Relationship Id="rId6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87.xml"/><Relationship Id="rId5" Type="http://schemas.openxmlformats.org/officeDocument/2006/relationships/slideLayout" Target="../slideLayouts/slideLayout381.xml"/><Relationship Id="rId15" Type="http://schemas.openxmlformats.org/officeDocument/2006/relationships/slideLayout" Target="../slideLayouts/slideLayout391.xml"/><Relationship Id="rId10" Type="http://schemas.openxmlformats.org/officeDocument/2006/relationships/slideLayout" Target="../slideLayouts/slideLayout386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380.xml"/><Relationship Id="rId9" Type="http://schemas.openxmlformats.org/officeDocument/2006/relationships/slideLayout" Target="../slideLayouts/slideLayout385.xml"/><Relationship Id="rId14" Type="http://schemas.openxmlformats.org/officeDocument/2006/relationships/slideLayout" Target="../slideLayouts/slideLayout39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theme" Target="../theme/theme4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42" Type="http://schemas.openxmlformats.org/officeDocument/2006/relationships/slideLayout" Target="../slideLayouts/slideLayout152.xml"/><Relationship Id="rId47" Type="http://schemas.openxmlformats.org/officeDocument/2006/relationships/slideLayout" Target="../slideLayouts/slideLayout157.xml"/><Relationship Id="rId50" Type="http://schemas.openxmlformats.org/officeDocument/2006/relationships/slideLayout" Target="../slideLayouts/slideLayout160.xml"/><Relationship Id="rId55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53" Type="http://schemas.openxmlformats.org/officeDocument/2006/relationships/slideLayout" Target="../slideLayouts/slideLayout163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56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18.xml"/><Relationship Id="rId51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4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54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59.xml"/><Relationship Id="rId57" Type="http://schemas.openxmlformats.org/officeDocument/2006/relationships/theme" Target="../theme/theme5.xml"/><Relationship Id="rId1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41.xml"/><Relationship Id="rId44" Type="http://schemas.openxmlformats.org/officeDocument/2006/relationships/slideLayout" Target="../slideLayouts/slideLayout154.xml"/><Relationship Id="rId52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26" Type="http://schemas.openxmlformats.org/officeDocument/2006/relationships/slideLayout" Target="../slideLayouts/slideLayout211.xml"/><Relationship Id="rId39" Type="http://schemas.openxmlformats.org/officeDocument/2006/relationships/slideLayout" Target="../slideLayouts/slideLayout224.xml"/><Relationship Id="rId21" Type="http://schemas.openxmlformats.org/officeDocument/2006/relationships/slideLayout" Target="../slideLayouts/slideLayout206.xml"/><Relationship Id="rId34" Type="http://schemas.openxmlformats.org/officeDocument/2006/relationships/slideLayout" Target="../slideLayouts/slideLayout219.xml"/><Relationship Id="rId42" Type="http://schemas.openxmlformats.org/officeDocument/2006/relationships/slideLayout" Target="../slideLayouts/slideLayout227.xml"/><Relationship Id="rId47" Type="http://schemas.openxmlformats.org/officeDocument/2006/relationships/slideLayout" Target="../slideLayouts/slideLayout232.xml"/><Relationship Id="rId50" Type="http://schemas.openxmlformats.org/officeDocument/2006/relationships/slideLayout" Target="../slideLayouts/slideLayout235.xml"/><Relationship Id="rId55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9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209.xml"/><Relationship Id="rId32" Type="http://schemas.openxmlformats.org/officeDocument/2006/relationships/slideLayout" Target="../slideLayouts/slideLayout217.xml"/><Relationship Id="rId37" Type="http://schemas.openxmlformats.org/officeDocument/2006/relationships/slideLayout" Target="../slideLayouts/slideLayout222.xml"/><Relationship Id="rId40" Type="http://schemas.openxmlformats.org/officeDocument/2006/relationships/slideLayout" Target="../slideLayouts/slideLayout225.xml"/><Relationship Id="rId45" Type="http://schemas.openxmlformats.org/officeDocument/2006/relationships/slideLayout" Target="../slideLayouts/slideLayout230.xml"/><Relationship Id="rId53" Type="http://schemas.openxmlformats.org/officeDocument/2006/relationships/slideLayout" Target="../slideLayouts/slideLayout238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12.xml"/><Relationship Id="rId30" Type="http://schemas.openxmlformats.org/officeDocument/2006/relationships/slideLayout" Target="../slideLayouts/slideLayout215.xml"/><Relationship Id="rId35" Type="http://schemas.openxmlformats.org/officeDocument/2006/relationships/slideLayout" Target="../slideLayouts/slideLayout220.xml"/><Relationship Id="rId43" Type="http://schemas.openxmlformats.org/officeDocument/2006/relationships/slideLayout" Target="../slideLayouts/slideLayout228.xml"/><Relationship Id="rId48" Type="http://schemas.openxmlformats.org/officeDocument/2006/relationships/slideLayout" Target="../slideLayouts/slideLayout233.xml"/><Relationship Id="rId56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193.xml"/><Relationship Id="rId51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slideLayout" Target="../slideLayouts/slideLayout210.xml"/><Relationship Id="rId33" Type="http://schemas.openxmlformats.org/officeDocument/2006/relationships/slideLayout" Target="../slideLayouts/slideLayout218.xml"/><Relationship Id="rId38" Type="http://schemas.openxmlformats.org/officeDocument/2006/relationships/slideLayout" Target="../slideLayouts/slideLayout223.xml"/><Relationship Id="rId46" Type="http://schemas.openxmlformats.org/officeDocument/2006/relationships/slideLayout" Target="../slideLayouts/slideLayout231.xml"/><Relationship Id="rId20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26.xml"/><Relationship Id="rId54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13.xml"/><Relationship Id="rId36" Type="http://schemas.openxmlformats.org/officeDocument/2006/relationships/slideLayout" Target="../slideLayouts/slideLayout221.xml"/><Relationship Id="rId49" Type="http://schemas.openxmlformats.org/officeDocument/2006/relationships/slideLayout" Target="../slideLayouts/slideLayout234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16.xml"/><Relationship Id="rId44" Type="http://schemas.openxmlformats.org/officeDocument/2006/relationships/slideLayout" Target="../slideLayouts/slideLayout229.xml"/><Relationship Id="rId52" Type="http://schemas.openxmlformats.org/officeDocument/2006/relationships/slideLayout" Target="../slideLayouts/slideLayout23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9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262.xml"/><Relationship Id="rId34" Type="http://schemas.openxmlformats.org/officeDocument/2006/relationships/slideLayout" Target="../slideLayouts/slideLayout275.xml"/><Relationship Id="rId42" Type="http://schemas.openxmlformats.org/officeDocument/2006/relationships/slideLayout" Target="../slideLayouts/slideLayout283.xml"/><Relationship Id="rId47" Type="http://schemas.openxmlformats.org/officeDocument/2006/relationships/slideLayout" Target="../slideLayouts/slideLayout288.xml"/><Relationship Id="rId50" Type="http://schemas.openxmlformats.org/officeDocument/2006/relationships/slideLayout" Target="../slideLayouts/slideLayout291.xml"/><Relationship Id="rId55" Type="http://schemas.openxmlformats.org/officeDocument/2006/relationships/slideLayout" Target="../slideLayouts/slideLayout296.xml"/><Relationship Id="rId7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slideLayout" Target="../slideLayouts/slideLayout273.xml"/><Relationship Id="rId37" Type="http://schemas.openxmlformats.org/officeDocument/2006/relationships/slideLayout" Target="../slideLayouts/slideLayout278.xml"/><Relationship Id="rId40" Type="http://schemas.openxmlformats.org/officeDocument/2006/relationships/slideLayout" Target="../slideLayouts/slideLayout281.xml"/><Relationship Id="rId45" Type="http://schemas.openxmlformats.org/officeDocument/2006/relationships/slideLayout" Target="../slideLayouts/slideLayout286.xml"/><Relationship Id="rId53" Type="http://schemas.openxmlformats.org/officeDocument/2006/relationships/slideLayout" Target="../slideLayouts/slideLayout294.xml"/><Relationship Id="rId58" Type="http://schemas.openxmlformats.org/officeDocument/2006/relationships/theme" Target="../theme/theme8.xml"/><Relationship Id="rId5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slideLayout" Target="../slideLayouts/slideLayout268.xml"/><Relationship Id="rId30" Type="http://schemas.openxmlformats.org/officeDocument/2006/relationships/slideLayout" Target="../slideLayouts/slideLayout271.xml"/><Relationship Id="rId35" Type="http://schemas.openxmlformats.org/officeDocument/2006/relationships/slideLayout" Target="../slideLayouts/slideLayout276.xml"/><Relationship Id="rId43" Type="http://schemas.openxmlformats.org/officeDocument/2006/relationships/slideLayout" Target="../slideLayouts/slideLayout284.xml"/><Relationship Id="rId48" Type="http://schemas.openxmlformats.org/officeDocument/2006/relationships/slideLayout" Target="../slideLayouts/slideLayout289.xml"/><Relationship Id="rId56" Type="http://schemas.openxmlformats.org/officeDocument/2006/relationships/slideLayout" Target="../slideLayouts/slideLayout297.xml"/><Relationship Id="rId8" Type="http://schemas.openxmlformats.org/officeDocument/2006/relationships/slideLayout" Target="../slideLayouts/slideLayout249.xml"/><Relationship Id="rId51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33" Type="http://schemas.openxmlformats.org/officeDocument/2006/relationships/slideLayout" Target="../slideLayouts/slideLayout274.xml"/><Relationship Id="rId38" Type="http://schemas.openxmlformats.org/officeDocument/2006/relationships/slideLayout" Target="../slideLayouts/slideLayout279.xml"/><Relationship Id="rId46" Type="http://schemas.openxmlformats.org/officeDocument/2006/relationships/slideLayout" Target="../slideLayouts/slideLayout287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261.xml"/><Relationship Id="rId41" Type="http://schemas.openxmlformats.org/officeDocument/2006/relationships/slideLayout" Target="../slideLayouts/slideLayout282.xml"/><Relationship Id="rId54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slideLayout" Target="../slideLayouts/slideLayout269.xml"/><Relationship Id="rId36" Type="http://schemas.openxmlformats.org/officeDocument/2006/relationships/slideLayout" Target="../slideLayouts/slideLayout277.xml"/><Relationship Id="rId49" Type="http://schemas.openxmlformats.org/officeDocument/2006/relationships/slideLayout" Target="../slideLayouts/slideLayout290.xml"/><Relationship Id="rId57" Type="http://schemas.openxmlformats.org/officeDocument/2006/relationships/slideLayout" Target="../slideLayouts/slideLayout298.xml"/><Relationship Id="rId10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72.xml"/><Relationship Id="rId44" Type="http://schemas.openxmlformats.org/officeDocument/2006/relationships/slideLayout" Target="../slideLayouts/slideLayout285.xml"/><Relationship Id="rId52" Type="http://schemas.openxmlformats.org/officeDocument/2006/relationships/slideLayout" Target="../slideLayouts/slideLayout293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4.xml"/><Relationship Id="rId21" Type="http://schemas.openxmlformats.org/officeDocument/2006/relationships/slideLayout" Target="../slideLayouts/slideLayout319.xml"/><Relationship Id="rId34" Type="http://schemas.openxmlformats.org/officeDocument/2006/relationships/slideLayout" Target="../slideLayouts/slideLayout332.xml"/><Relationship Id="rId42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345.xml"/><Relationship Id="rId50" Type="http://schemas.openxmlformats.org/officeDocument/2006/relationships/slideLayout" Target="../slideLayouts/slideLayout348.xml"/><Relationship Id="rId55" Type="http://schemas.openxmlformats.org/officeDocument/2006/relationships/slideLayout" Target="../slideLayouts/slideLayout353.xml"/><Relationship Id="rId63" Type="http://schemas.openxmlformats.org/officeDocument/2006/relationships/slideLayout" Target="../slideLayouts/slideLayout361.xml"/><Relationship Id="rId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32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335.xml"/><Relationship Id="rId40" Type="http://schemas.openxmlformats.org/officeDocument/2006/relationships/slideLayout" Target="../slideLayouts/slideLayout338.xml"/><Relationship Id="rId45" Type="http://schemas.openxmlformats.org/officeDocument/2006/relationships/slideLayout" Target="../slideLayouts/slideLayout343.xml"/><Relationship Id="rId53" Type="http://schemas.openxmlformats.org/officeDocument/2006/relationships/slideLayout" Target="../slideLayouts/slideLayout351.xml"/><Relationship Id="rId58" Type="http://schemas.openxmlformats.org/officeDocument/2006/relationships/slideLayout" Target="../slideLayouts/slideLayout356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303.xml"/><Relationship Id="rId61" Type="http://schemas.openxmlformats.org/officeDocument/2006/relationships/slideLayout" Target="../slideLayouts/slideLayout359.xml"/><Relationship Id="rId19" Type="http://schemas.openxmlformats.org/officeDocument/2006/relationships/slideLayout" Target="../slideLayouts/slideLayout31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25.xml"/><Relationship Id="rId30" Type="http://schemas.openxmlformats.org/officeDocument/2006/relationships/slideLayout" Target="../slideLayouts/slideLayout328.xml"/><Relationship Id="rId35" Type="http://schemas.openxmlformats.org/officeDocument/2006/relationships/slideLayout" Target="../slideLayouts/slideLayout333.xml"/><Relationship Id="rId43" Type="http://schemas.openxmlformats.org/officeDocument/2006/relationships/slideLayout" Target="../slideLayouts/slideLayout341.xml"/><Relationship Id="rId48" Type="http://schemas.openxmlformats.org/officeDocument/2006/relationships/slideLayout" Target="../slideLayouts/slideLayout346.xml"/><Relationship Id="rId56" Type="http://schemas.openxmlformats.org/officeDocument/2006/relationships/slideLayout" Target="../slideLayouts/slideLayout354.xml"/><Relationship Id="rId64" Type="http://schemas.openxmlformats.org/officeDocument/2006/relationships/slideLayout" Target="../slideLayouts/slideLayout362.xml"/><Relationship Id="rId8" Type="http://schemas.openxmlformats.org/officeDocument/2006/relationships/slideLayout" Target="../slideLayouts/slideLayout306.xml"/><Relationship Id="rId51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33" Type="http://schemas.openxmlformats.org/officeDocument/2006/relationships/slideLayout" Target="../slideLayouts/slideLayout331.xml"/><Relationship Id="rId38" Type="http://schemas.openxmlformats.org/officeDocument/2006/relationships/slideLayout" Target="../slideLayouts/slideLayout336.xml"/><Relationship Id="rId46" Type="http://schemas.openxmlformats.org/officeDocument/2006/relationships/slideLayout" Target="../slideLayouts/slideLayout344.xml"/><Relationship Id="rId59" Type="http://schemas.openxmlformats.org/officeDocument/2006/relationships/slideLayout" Target="../slideLayouts/slideLayout357.xml"/><Relationship Id="rId20" Type="http://schemas.openxmlformats.org/officeDocument/2006/relationships/slideLayout" Target="../slideLayouts/slideLayout318.xml"/><Relationship Id="rId41" Type="http://schemas.openxmlformats.org/officeDocument/2006/relationships/slideLayout" Target="../slideLayouts/slideLayout339.xml"/><Relationship Id="rId54" Type="http://schemas.openxmlformats.org/officeDocument/2006/relationships/slideLayout" Target="../slideLayouts/slideLayout352.xml"/><Relationship Id="rId62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28" Type="http://schemas.openxmlformats.org/officeDocument/2006/relationships/slideLayout" Target="../slideLayouts/slideLayout326.xml"/><Relationship Id="rId36" Type="http://schemas.openxmlformats.org/officeDocument/2006/relationships/slideLayout" Target="../slideLayouts/slideLayout334.xml"/><Relationship Id="rId49" Type="http://schemas.openxmlformats.org/officeDocument/2006/relationships/slideLayout" Target="../slideLayouts/slideLayout347.xml"/><Relationship Id="rId57" Type="http://schemas.openxmlformats.org/officeDocument/2006/relationships/slideLayout" Target="../slideLayouts/slideLayout355.xml"/><Relationship Id="rId10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9.xml"/><Relationship Id="rId44" Type="http://schemas.openxmlformats.org/officeDocument/2006/relationships/slideLayout" Target="../slideLayouts/slideLayout342.xml"/><Relationship Id="rId52" Type="http://schemas.openxmlformats.org/officeDocument/2006/relationships/slideLayout" Target="../slideLayouts/slideLayout350.xml"/><Relationship Id="rId60" Type="http://schemas.openxmlformats.org/officeDocument/2006/relationships/slideLayout" Target="../slideLayouts/slideLayout358.xml"/><Relationship Id="rId65" Type="http://schemas.openxmlformats.org/officeDocument/2006/relationships/theme" Target="../theme/theme9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39" Type="http://schemas.openxmlformats.org/officeDocument/2006/relationships/slideLayout" Target="../slideLayouts/slideLayout3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296425"/>
            <a:ext cx="5382691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1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F0974E-49C5-B960-B4F8-5964DD923856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1A196204-FC1A-5216-AF83-73D0AFFCAFA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i="0" kern="1200" cap="none" baseline="0">
          <a:solidFill>
            <a:schemeClr val="tx1"/>
          </a:solidFill>
          <a:latin typeface="+mj-lt"/>
          <a:ea typeface="Poppins Medium" pitchFamily="2" charset="77"/>
          <a:cs typeface="Poppins Medium" pitchFamily="2" charset="77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i="0" kern="1200"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0" scaled="1"/>
          </a:gradFill>
          <a:latin typeface="+mj-lt"/>
          <a:ea typeface="+mn-ea"/>
          <a:cs typeface="Poppins Medium" pitchFamily="2" charset="77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j-lt"/>
          <a:ea typeface="+mn-ea"/>
          <a:cs typeface="Poppins" pitchFamily="2" charset="77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32">
          <p15:clr>
            <a:srgbClr val="FDE53C"/>
          </p15:clr>
        </p15:guide>
        <p15:guide id="67" orient="horz" pos="1160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922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509">
          <p15:clr>
            <a:srgbClr val="A4A3A4"/>
          </p15:clr>
        </p15:guide>
        <p15:guide id="77" orient="horz" pos="391">
          <p15:clr>
            <a:srgbClr val="FDE53C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8" r:id="rId57"/>
    <p:sldLayoutId id="2147483770" r:id="rId58"/>
    <p:sldLayoutId id="2147483771" r:id="rId59"/>
    <p:sldLayoutId id="2147483775" r:id="rId60"/>
    <p:sldLayoutId id="2147483776" r:id="rId61"/>
    <p:sldLayoutId id="2147484035" r:id="rId62"/>
    <p:sldLayoutId id="2147484066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6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52" r:id="rId41"/>
    <p:sldLayoutId id="2147483953" r:id="rId42"/>
    <p:sldLayoutId id="2147483954" r:id="rId43"/>
    <p:sldLayoutId id="2147483955" r:id="rId44"/>
    <p:sldLayoutId id="2147483956" r:id="rId45"/>
    <p:sldLayoutId id="2147483957" r:id="rId46"/>
    <p:sldLayoutId id="2147483958" r:id="rId47"/>
    <p:sldLayoutId id="2147483959" r:id="rId48"/>
    <p:sldLayoutId id="2147483960" r:id="rId49"/>
    <p:sldLayoutId id="2147483961" r:id="rId50"/>
    <p:sldLayoutId id="2147483962" r:id="rId51"/>
    <p:sldLayoutId id="2147483963" r:id="rId52"/>
    <p:sldLayoutId id="2147483964" r:id="rId53"/>
    <p:sldLayoutId id="2147483965" r:id="rId54"/>
    <p:sldLayoutId id="2147483966" r:id="rId55"/>
    <p:sldLayoutId id="2147483967" r:id="rId56"/>
    <p:sldLayoutId id="214748396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77.xml"/><Relationship Id="rId5" Type="http://schemas.openxmlformats.org/officeDocument/2006/relationships/image" Target="../media/image33.png"/><Relationship Id="rId4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77.xml"/><Relationship Id="rId5" Type="http://schemas.openxmlformats.org/officeDocument/2006/relationships/image" Target="../media/image36.png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3.png"/><Relationship Id="rId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8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33.png"/><Relationship Id="rId4" Type="http://schemas.openxmlformats.org/officeDocument/2006/relationships/image" Target="../media/image3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7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4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1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36B67939-6335-4CB1-8986-2381DBFDF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405762"/>
              </p:ext>
            </p:extLst>
          </p:nvPr>
        </p:nvGraphicFramePr>
        <p:xfrm>
          <a:off x="3389654" y="995932"/>
          <a:ext cx="4899320" cy="3113150"/>
        </p:xfrm>
        <a:graphic>
          <a:graphicData uri="http://schemas.openxmlformats.org/drawingml/2006/table">
            <a:tbl>
              <a:tblPr firstRow="1" bandRow="1"/>
              <a:tblGrid>
                <a:gridCol w="1490945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832806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575569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42K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43K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 4,514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 4,665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644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666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36195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DIGITAL – MES RRS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027884"/>
                  </a:ext>
                </a:extLst>
              </a:tr>
              <a:tr h="2762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(IVR) PROMEDIO –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671133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TV y PTV,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edi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imari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</a:t>
                      </a:r>
                    </a:p>
                    <a:p>
                      <a:pPr algn="l"/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La inversion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medios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se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mantiene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algn="l"/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Integración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de digital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destinando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un 15% del mix.</a:t>
                      </a:r>
                    </a:p>
                    <a:p>
                      <a:pPr algn="l"/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endParaRPr lang="en-US" sz="1000" b="1" i="0" u="none" dirty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graphicFrame>
        <p:nvGraphicFramePr>
          <p:cNvPr id="70" name="Gráfico 69">
            <a:extLst>
              <a:ext uri="{FF2B5EF4-FFF2-40B4-BE49-F238E27FC236}">
                <a16:creationId xmlns:a16="http://schemas.microsoft.com/office/drawing/2014/main" id="{93DCE385-0FAC-126D-B32E-A565FA3696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5946492"/>
              </p:ext>
            </p:extLst>
          </p:nvPr>
        </p:nvGraphicFramePr>
        <p:xfrm>
          <a:off x="4148385" y="4482779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1" name="Gráfico 70">
            <a:extLst>
              <a:ext uri="{FF2B5EF4-FFF2-40B4-BE49-F238E27FC236}">
                <a16:creationId xmlns:a16="http://schemas.microsoft.com/office/drawing/2014/main" id="{1F67187A-EB97-987B-BC4F-4611229D8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6863731"/>
              </p:ext>
            </p:extLst>
          </p:nvPr>
        </p:nvGraphicFramePr>
        <p:xfrm>
          <a:off x="4148384" y="4979962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4" name="Gráfico 73">
            <a:extLst>
              <a:ext uri="{FF2B5EF4-FFF2-40B4-BE49-F238E27FC236}">
                <a16:creationId xmlns:a16="http://schemas.microsoft.com/office/drawing/2014/main" id="{47C042F5-8FE6-09BA-95FE-F290A74BC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1530246"/>
              </p:ext>
            </p:extLst>
          </p:nvPr>
        </p:nvGraphicFramePr>
        <p:xfrm>
          <a:off x="4148383" y="5507316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E0B82BDD-B582-86BD-D977-170B62363357}"/>
              </a:ext>
            </a:extLst>
          </p:cNvPr>
          <p:cNvSpPr txBox="1">
            <a:spLocks/>
          </p:cNvSpPr>
          <p:nvPr/>
        </p:nvSpPr>
        <p:spPr>
          <a:xfrm>
            <a:off x="3334615" y="4745712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7" name="Flecha: a la derecha 48">
            <a:extLst>
              <a:ext uri="{FF2B5EF4-FFF2-40B4-BE49-F238E27FC236}">
                <a16:creationId xmlns:a16="http://schemas.microsoft.com/office/drawing/2014/main" id="{496F1B0C-4DA6-004F-A7C0-D0F9A8775F2C}"/>
              </a:ext>
            </a:extLst>
          </p:cNvPr>
          <p:cNvSpPr/>
          <p:nvPr/>
        </p:nvSpPr>
        <p:spPr>
          <a:xfrm rot="16200000">
            <a:off x="8388817" y="2127115"/>
            <a:ext cx="216000" cy="199234"/>
          </a:xfrm>
          <a:prstGeom prst="rightArrow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352477A3-1336-344D-9534-20EEAF15668F}"/>
              </a:ext>
            </a:extLst>
          </p:cNvPr>
          <p:cNvSpPr txBox="1"/>
          <p:nvPr/>
        </p:nvSpPr>
        <p:spPr>
          <a:xfrm>
            <a:off x="8540646" y="2118732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%+</a:t>
            </a:r>
          </a:p>
        </p:txBody>
      </p:sp>
      <p:sp>
        <p:nvSpPr>
          <p:cNvPr id="21" name="Flecha: a la derecha 48">
            <a:extLst>
              <a:ext uri="{FF2B5EF4-FFF2-40B4-BE49-F238E27FC236}">
                <a16:creationId xmlns:a16="http://schemas.microsoft.com/office/drawing/2014/main" id="{DF0B755B-097F-0445-B870-6C1011A449D8}"/>
              </a:ext>
            </a:extLst>
          </p:cNvPr>
          <p:cNvSpPr/>
          <p:nvPr/>
        </p:nvSpPr>
        <p:spPr>
          <a:xfrm rot="16200000">
            <a:off x="8388817" y="2467250"/>
            <a:ext cx="216000" cy="199234"/>
          </a:xfrm>
          <a:prstGeom prst="rightArrow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743B270-A9D4-B94D-BC59-96B601D1B27D}"/>
              </a:ext>
            </a:extLst>
          </p:cNvPr>
          <p:cNvSpPr txBox="1"/>
          <p:nvPr/>
        </p:nvSpPr>
        <p:spPr>
          <a:xfrm>
            <a:off x="8537432" y="2447640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3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+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24" name="Picture 2" descr="Dorival">
            <a:extLst>
              <a:ext uri="{FF2B5EF4-FFF2-40B4-BE49-F238E27FC236}">
                <a16:creationId xmlns:a16="http://schemas.microsoft.com/office/drawing/2014/main" id="{3FE66F1B-914E-E944-AB6C-149754603C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412" y="900580"/>
            <a:ext cx="941941" cy="45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echa izquierda y derecha 9">
            <a:extLst>
              <a:ext uri="{FF2B5EF4-FFF2-40B4-BE49-F238E27FC236}">
                <a16:creationId xmlns:a16="http://schemas.microsoft.com/office/drawing/2014/main" id="{0C2E3865-376F-904F-85CC-E0F7ED9336C7}"/>
              </a:ext>
            </a:extLst>
          </p:cNvPr>
          <p:cNvSpPr/>
          <p:nvPr/>
        </p:nvSpPr>
        <p:spPr>
          <a:xfrm>
            <a:off x="8367449" y="1443920"/>
            <a:ext cx="349584" cy="190919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s-HN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2765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2</a:t>
            </a:fld>
            <a:endParaRPr lang="es-MX"/>
          </a:p>
        </p:txBody>
      </p:sp>
      <p:graphicFrame>
        <p:nvGraphicFramePr>
          <p:cNvPr id="6" name="Table 13">
            <a:extLst>
              <a:ext uri="{FF2B5EF4-FFF2-40B4-BE49-F238E27FC236}">
                <a16:creationId xmlns:a16="http://schemas.microsoft.com/office/drawing/2014/main" id="{72ACAE7D-EB5C-3806-0FEB-520B74A09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1227104"/>
              </p:ext>
            </p:extLst>
          </p:nvPr>
        </p:nvGraphicFramePr>
        <p:xfrm>
          <a:off x="785261" y="839617"/>
          <a:ext cx="10863132" cy="5231151"/>
        </p:xfrm>
        <a:graphic>
          <a:graphicData uri="http://schemas.openxmlformats.org/drawingml/2006/table">
            <a:tbl>
              <a:tblPr/>
              <a:tblGrid>
                <a:gridCol w="997488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422261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4123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iert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28675"/>
                  </a:ext>
                </a:extLst>
              </a:tr>
              <a:tr h="454329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ag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204072"/>
                  </a:ext>
                </a:extLst>
              </a:tr>
              <a:tr h="4386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a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529460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e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5354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mpreso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4230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542301"/>
                  </a:ext>
                </a:extLst>
              </a:tr>
              <a:tr h="46999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830940"/>
                  </a:ext>
                </a:extLst>
              </a:tr>
              <a:tr h="5068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fluenc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184236"/>
                  </a:ext>
                </a:extLst>
              </a:tr>
              <a:tr h="4386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gital Innov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408837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2238750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780309"/>
                  </a:ext>
                </a:extLst>
              </a:tr>
            </a:tbl>
          </a:graphicData>
        </a:graphic>
      </p:graphicFrame>
      <p:sp>
        <p:nvSpPr>
          <p:cNvPr id="32" name="Rounded Rectangle 14">
            <a:extLst>
              <a:ext uri="{FF2B5EF4-FFF2-40B4-BE49-F238E27FC236}">
                <a16:creationId xmlns:a16="http://schemas.microsoft.com/office/drawing/2014/main" id="{73BC2826-AAEF-5F68-9822-ADED30644AE0}"/>
              </a:ext>
            </a:extLst>
          </p:cNvPr>
          <p:cNvSpPr/>
          <p:nvPr/>
        </p:nvSpPr>
        <p:spPr>
          <a:xfrm>
            <a:off x="2610399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6" name="Título 1">
            <a:extLst>
              <a:ext uri="{FF2B5EF4-FFF2-40B4-BE49-F238E27FC236}">
                <a16:creationId xmlns:a16="http://schemas.microsoft.com/office/drawing/2014/main" id="{47294257-304D-4435-AF07-AA55E223E265}"/>
              </a:ext>
            </a:extLst>
          </p:cNvPr>
          <p:cNvSpPr txBox="1">
            <a:spLocks/>
          </p:cNvSpPr>
          <p:nvPr/>
        </p:nvSpPr>
        <p:spPr>
          <a:xfrm>
            <a:off x="713310" y="285679"/>
            <a:ext cx="3184134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2025 ROAD MAP</a:t>
            </a:r>
          </a:p>
        </p:txBody>
      </p:sp>
      <p:sp>
        <p:nvSpPr>
          <p:cNvPr id="45" name="Rounded Rectangle 14">
            <a:extLst>
              <a:ext uri="{FF2B5EF4-FFF2-40B4-BE49-F238E27FC236}">
                <a16:creationId xmlns:a16="http://schemas.microsoft.com/office/drawing/2014/main" id="{18B7B9A8-A138-6542-911B-69283BFDDB2E}"/>
              </a:ext>
            </a:extLst>
          </p:cNvPr>
          <p:cNvSpPr/>
          <p:nvPr/>
        </p:nvSpPr>
        <p:spPr>
          <a:xfrm>
            <a:off x="3487464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Rounded Rectangle 14">
            <a:extLst>
              <a:ext uri="{FF2B5EF4-FFF2-40B4-BE49-F238E27FC236}">
                <a16:creationId xmlns:a16="http://schemas.microsoft.com/office/drawing/2014/main" id="{E6C87E5C-F735-6B44-A747-FBD472B79DC2}"/>
              </a:ext>
            </a:extLst>
          </p:cNvPr>
          <p:cNvSpPr/>
          <p:nvPr/>
        </p:nvSpPr>
        <p:spPr>
          <a:xfrm>
            <a:off x="5901348" y="1435995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ounded Rectangle 14">
            <a:extLst>
              <a:ext uri="{FF2B5EF4-FFF2-40B4-BE49-F238E27FC236}">
                <a16:creationId xmlns:a16="http://schemas.microsoft.com/office/drawing/2014/main" id="{FD75A372-8970-6243-9A5C-3FE0086F0471}"/>
              </a:ext>
            </a:extLst>
          </p:cNvPr>
          <p:cNvSpPr/>
          <p:nvPr/>
        </p:nvSpPr>
        <p:spPr>
          <a:xfrm>
            <a:off x="5024283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Rounded Rectangle 14">
            <a:extLst>
              <a:ext uri="{FF2B5EF4-FFF2-40B4-BE49-F238E27FC236}">
                <a16:creationId xmlns:a16="http://schemas.microsoft.com/office/drawing/2014/main" id="{4A0DA5F0-8E62-5044-A188-B4661CEDAA65}"/>
              </a:ext>
            </a:extLst>
          </p:cNvPr>
          <p:cNvSpPr/>
          <p:nvPr/>
        </p:nvSpPr>
        <p:spPr>
          <a:xfrm>
            <a:off x="7552667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ounded Rectangle 14">
            <a:extLst>
              <a:ext uri="{FF2B5EF4-FFF2-40B4-BE49-F238E27FC236}">
                <a16:creationId xmlns:a16="http://schemas.microsoft.com/office/drawing/2014/main" id="{19B8773C-C34A-FF42-88D7-DF40BC084270}"/>
              </a:ext>
            </a:extLst>
          </p:cNvPr>
          <p:cNvSpPr/>
          <p:nvPr/>
        </p:nvSpPr>
        <p:spPr>
          <a:xfrm>
            <a:off x="8389980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2BF606A-69C2-034C-A256-AFC8B012CEC6}"/>
              </a:ext>
            </a:extLst>
          </p:cNvPr>
          <p:cNvSpPr txBox="1"/>
          <p:nvPr/>
        </p:nvSpPr>
        <p:spPr>
          <a:xfrm>
            <a:off x="2706197" y="1448646"/>
            <a:ext cx="6543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HN" sz="600" dirty="0"/>
              <a:t>Inicio clases</a:t>
            </a:r>
          </a:p>
          <a:p>
            <a:pPr algn="ctr"/>
            <a:r>
              <a:rPr lang="es-HN" sz="600" dirty="0"/>
              <a:t> públicos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C785D313-217C-7145-A9A3-0AEF5C571C2E}"/>
              </a:ext>
            </a:extLst>
          </p:cNvPr>
          <p:cNvSpPr txBox="1"/>
          <p:nvPr/>
        </p:nvSpPr>
        <p:spPr>
          <a:xfrm>
            <a:off x="7552980" y="1448646"/>
            <a:ext cx="7532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Inicio clases </a:t>
            </a:r>
          </a:p>
          <a:p>
            <a:pPr algn="ctr"/>
            <a:r>
              <a:rPr lang="es-HN" sz="600" dirty="0"/>
              <a:t>privados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DAC52B29-87B6-3241-93DB-900BD815D90B}"/>
              </a:ext>
            </a:extLst>
          </p:cNvPr>
          <p:cNvSpPr txBox="1"/>
          <p:nvPr/>
        </p:nvSpPr>
        <p:spPr>
          <a:xfrm>
            <a:off x="5922349" y="1459741"/>
            <a:ext cx="7532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Mes del estudiante 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A3E80A22-32A3-9A49-9160-0146680E3BEE}"/>
              </a:ext>
            </a:extLst>
          </p:cNvPr>
          <p:cNvSpPr txBox="1"/>
          <p:nvPr/>
        </p:nvSpPr>
        <p:spPr>
          <a:xfrm>
            <a:off x="8442024" y="1464312"/>
            <a:ext cx="7532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Mes de la patria</a:t>
            </a:r>
          </a:p>
        </p:txBody>
      </p:sp>
      <p:sp>
        <p:nvSpPr>
          <p:cNvPr id="58" name="Rounded Rectangle 14">
            <a:extLst>
              <a:ext uri="{FF2B5EF4-FFF2-40B4-BE49-F238E27FC236}">
                <a16:creationId xmlns:a16="http://schemas.microsoft.com/office/drawing/2014/main" id="{6EC7647E-0D72-7147-BC47-15E64E8ABE66}"/>
              </a:ext>
            </a:extLst>
          </p:cNvPr>
          <p:cNvSpPr/>
          <p:nvPr/>
        </p:nvSpPr>
        <p:spPr>
          <a:xfrm>
            <a:off x="2540584" y="4466946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Rounded Rectangle 14">
            <a:extLst>
              <a:ext uri="{FF2B5EF4-FFF2-40B4-BE49-F238E27FC236}">
                <a16:creationId xmlns:a16="http://schemas.microsoft.com/office/drawing/2014/main" id="{A2DCE2BC-AFD1-E044-B533-2D8588B58E2D}"/>
              </a:ext>
            </a:extLst>
          </p:cNvPr>
          <p:cNvSpPr/>
          <p:nvPr/>
        </p:nvSpPr>
        <p:spPr>
          <a:xfrm>
            <a:off x="5888995" y="4491371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ounded Rectangle 14">
            <a:extLst>
              <a:ext uri="{FF2B5EF4-FFF2-40B4-BE49-F238E27FC236}">
                <a16:creationId xmlns:a16="http://schemas.microsoft.com/office/drawing/2014/main" id="{5AED3D97-2CE9-7648-B693-C0FA6BE70D48}"/>
              </a:ext>
            </a:extLst>
          </p:cNvPr>
          <p:cNvSpPr/>
          <p:nvPr/>
        </p:nvSpPr>
        <p:spPr>
          <a:xfrm>
            <a:off x="7681453" y="4491371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012B8D6D-E23C-1348-A8AB-CE7DE8404C27}"/>
              </a:ext>
            </a:extLst>
          </p:cNvPr>
          <p:cNvSpPr txBox="1"/>
          <p:nvPr/>
        </p:nvSpPr>
        <p:spPr>
          <a:xfrm>
            <a:off x="3422814" y="1478779"/>
            <a:ext cx="8932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Mantenimiento </a:t>
            </a: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9359C3CE-F470-EB4C-9BE3-88C62DAA2E17}"/>
              </a:ext>
            </a:extLst>
          </p:cNvPr>
          <p:cNvSpPr txBox="1"/>
          <p:nvPr/>
        </p:nvSpPr>
        <p:spPr>
          <a:xfrm>
            <a:off x="5020858" y="1504147"/>
            <a:ext cx="8932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Mantenimiento </a:t>
            </a:r>
          </a:p>
        </p:txBody>
      </p:sp>
    </p:spTree>
    <p:extLst>
      <p:ext uri="{BB962C8B-B14F-4D97-AF65-F5344CB8AC3E}">
        <p14:creationId xmlns:p14="http://schemas.microsoft.com/office/powerpoint/2010/main" val="601873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jdelijke aanduiding voor tekst 3">
            <a:extLst>
              <a:ext uri="{FF2B5EF4-FFF2-40B4-BE49-F238E27FC236}">
                <a16:creationId xmlns:a16="http://schemas.microsoft.com/office/drawing/2014/main" id="{5758959A-D512-9699-EEC4-DBBFEF3333DB}"/>
              </a:ext>
            </a:extLst>
          </p:cNvPr>
          <p:cNvSpPr txBox="1">
            <a:spLocks/>
          </p:cNvSpPr>
          <p:nvPr/>
        </p:nvSpPr>
        <p:spPr>
          <a:xfrm>
            <a:off x="5857544" y="2875294"/>
            <a:ext cx="2298653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2" name="Oval 10">
            <a:extLst>
              <a:ext uri="{FF2B5EF4-FFF2-40B4-BE49-F238E27FC236}">
                <a16:creationId xmlns:a16="http://schemas.microsoft.com/office/drawing/2014/main" id="{2EB324A2-AEE7-A8FB-3BDE-22F597670FE1}"/>
              </a:ext>
            </a:extLst>
          </p:cNvPr>
          <p:cNvSpPr/>
          <p:nvPr/>
        </p:nvSpPr>
        <p:spPr>
          <a:xfrm>
            <a:off x="5842554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39" name="Table 6">
            <a:extLst>
              <a:ext uri="{FF2B5EF4-FFF2-40B4-BE49-F238E27FC236}">
                <a16:creationId xmlns:a16="http://schemas.microsoft.com/office/drawing/2014/main" id="{91EEB369-26A8-62A5-7155-1BFB0AC25B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186496"/>
              </p:ext>
            </p:extLst>
          </p:nvPr>
        </p:nvGraphicFramePr>
        <p:xfrm>
          <a:off x="8282904" y="2872791"/>
          <a:ext cx="3652078" cy="2684111"/>
        </p:xfrm>
        <a:graphic>
          <a:graphicData uri="http://schemas.openxmlformats.org/drawingml/2006/table">
            <a:tbl>
              <a:tblPr firstRow="1" bandRow="1"/>
              <a:tblGrid>
                <a:gridCol w="1826039">
                  <a:extLst>
                    <a:ext uri="{9D8B030D-6E8A-4147-A177-3AD203B41FA5}">
                      <a16:colId xmlns:a16="http://schemas.microsoft.com/office/drawing/2014/main" val="1211728796"/>
                    </a:ext>
                  </a:extLst>
                </a:gridCol>
                <a:gridCol w="1826039">
                  <a:extLst>
                    <a:ext uri="{9D8B030D-6E8A-4147-A177-3AD203B41FA5}">
                      <a16:colId xmlns:a16="http://schemas.microsoft.com/office/drawing/2014/main" val="2279435026"/>
                    </a:ext>
                  </a:extLst>
                </a:gridCol>
              </a:tblGrid>
              <a:tr h="4866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Estacionalidad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nicio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clase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fecha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claves para el target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studiantil</a:t>
                      </a:r>
                      <a:endParaRPr lang="en-GB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737685"/>
                  </a:ext>
                </a:extLst>
              </a:tr>
              <a:tr h="49871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señal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OTV + PTV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210266"/>
                  </a:ext>
                </a:extLst>
              </a:tr>
              <a:tr h="47646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cción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Patrocinio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eventos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Patrocinio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segmentos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829059"/>
                  </a:ext>
                </a:extLst>
              </a:tr>
              <a:tr h="4885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Duración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de spot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15ss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281069"/>
                  </a:ext>
                </a:extLst>
              </a:tr>
              <a:tr h="449124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Trp´s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4,665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trp’s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968482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BF01DDF-4EC1-41C9-0C71-F6480715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369" y="289685"/>
            <a:ext cx="4838278" cy="1766900"/>
          </a:xfrm>
        </p:spPr>
        <p:txBody>
          <a:bodyPr/>
          <a:lstStyle/>
          <a:p>
            <a:r>
              <a:rPr lang="en-GB" dirty="0" err="1"/>
              <a:t>Alcance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TV, M 12-25</a:t>
            </a: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17DE41-C9A8-B99F-7EB8-C8B2AA36C418}"/>
              </a:ext>
            </a:extLst>
          </p:cNvPr>
          <p:cNvSpPr/>
          <p:nvPr/>
        </p:nvSpPr>
        <p:spPr>
          <a:xfrm>
            <a:off x="8267923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Freeform 185">
            <a:extLst>
              <a:ext uri="{FF2B5EF4-FFF2-40B4-BE49-F238E27FC236}">
                <a16:creationId xmlns:a16="http://schemas.microsoft.com/office/drawing/2014/main" id="{6F1A9D9F-B643-4EC3-B35E-7BD6985D3F03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8360566" y="2391148"/>
            <a:ext cx="246384" cy="246114"/>
          </a:xfrm>
          <a:custGeom>
            <a:avLst/>
            <a:gdLst>
              <a:gd name="T0" fmla="*/ 497 w 995"/>
              <a:gd name="T1" fmla="*/ 0 h 994"/>
              <a:gd name="T2" fmla="*/ 0 w 995"/>
              <a:gd name="T3" fmla="*/ 497 h 994"/>
              <a:gd name="T4" fmla="*/ 497 w 995"/>
              <a:gd name="T5" fmla="*/ 994 h 994"/>
              <a:gd name="T6" fmla="*/ 995 w 995"/>
              <a:gd name="T7" fmla="*/ 497 h 994"/>
              <a:gd name="T8" fmla="*/ 497 w 995"/>
              <a:gd name="T9" fmla="*/ 0 h 994"/>
              <a:gd name="T10" fmla="*/ 497 w 995"/>
              <a:gd name="T11" fmla="*/ 944 h 994"/>
              <a:gd name="T12" fmla="*/ 50 w 995"/>
              <a:gd name="T13" fmla="*/ 497 h 994"/>
              <a:gd name="T14" fmla="*/ 497 w 995"/>
              <a:gd name="T15" fmla="*/ 49 h 994"/>
              <a:gd name="T16" fmla="*/ 945 w 995"/>
              <a:gd name="T17" fmla="*/ 497 h 994"/>
              <a:gd name="T18" fmla="*/ 497 w 995"/>
              <a:gd name="T19" fmla="*/ 944 h 994"/>
              <a:gd name="T20" fmla="*/ 452 w 995"/>
              <a:gd name="T21" fmla="*/ 271 h 994"/>
              <a:gd name="T22" fmla="*/ 542 w 995"/>
              <a:gd name="T23" fmla="*/ 271 h 994"/>
              <a:gd name="T24" fmla="*/ 542 w 995"/>
              <a:gd name="T25" fmla="*/ 354 h 994"/>
              <a:gd name="T26" fmla="*/ 452 w 995"/>
              <a:gd name="T27" fmla="*/ 354 h 994"/>
              <a:gd name="T28" fmla="*/ 452 w 995"/>
              <a:gd name="T29" fmla="*/ 271 h 994"/>
              <a:gd name="T30" fmla="*/ 452 w 995"/>
              <a:gd name="T31" fmla="*/ 404 h 994"/>
              <a:gd name="T32" fmla="*/ 542 w 995"/>
              <a:gd name="T33" fmla="*/ 404 h 994"/>
              <a:gd name="T34" fmla="*/ 542 w 995"/>
              <a:gd name="T35" fmla="*/ 723 h 994"/>
              <a:gd name="T36" fmla="*/ 452 w 995"/>
              <a:gd name="T37" fmla="*/ 723 h 994"/>
              <a:gd name="T38" fmla="*/ 452 w 995"/>
              <a:gd name="T39" fmla="*/ 404 h 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95" h="994">
                <a:moveTo>
                  <a:pt x="497" y="0"/>
                </a:moveTo>
                <a:cubicBezTo>
                  <a:pt x="223" y="0"/>
                  <a:pt x="0" y="222"/>
                  <a:pt x="0" y="497"/>
                </a:cubicBezTo>
                <a:cubicBezTo>
                  <a:pt x="0" y="771"/>
                  <a:pt x="223" y="994"/>
                  <a:pt x="497" y="994"/>
                </a:cubicBezTo>
                <a:cubicBezTo>
                  <a:pt x="772" y="994"/>
                  <a:pt x="995" y="771"/>
                  <a:pt x="995" y="497"/>
                </a:cubicBezTo>
                <a:cubicBezTo>
                  <a:pt x="995" y="222"/>
                  <a:pt x="772" y="0"/>
                  <a:pt x="497" y="0"/>
                </a:cubicBezTo>
                <a:moveTo>
                  <a:pt x="497" y="944"/>
                </a:moveTo>
                <a:cubicBezTo>
                  <a:pt x="251" y="944"/>
                  <a:pt x="50" y="744"/>
                  <a:pt x="50" y="497"/>
                </a:cubicBezTo>
                <a:cubicBezTo>
                  <a:pt x="50" y="250"/>
                  <a:pt x="251" y="49"/>
                  <a:pt x="497" y="49"/>
                </a:cubicBezTo>
                <a:cubicBezTo>
                  <a:pt x="744" y="49"/>
                  <a:pt x="945" y="250"/>
                  <a:pt x="945" y="497"/>
                </a:cubicBezTo>
                <a:cubicBezTo>
                  <a:pt x="945" y="744"/>
                  <a:pt x="744" y="944"/>
                  <a:pt x="497" y="944"/>
                </a:cubicBezTo>
                <a:moveTo>
                  <a:pt x="452" y="271"/>
                </a:moveTo>
                <a:cubicBezTo>
                  <a:pt x="542" y="271"/>
                  <a:pt x="542" y="271"/>
                  <a:pt x="542" y="271"/>
                </a:cubicBezTo>
                <a:cubicBezTo>
                  <a:pt x="542" y="354"/>
                  <a:pt x="542" y="354"/>
                  <a:pt x="542" y="354"/>
                </a:cubicBezTo>
                <a:cubicBezTo>
                  <a:pt x="452" y="354"/>
                  <a:pt x="452" y="354"/>
                  <a:pt x="452" y="354"/>
                </a:cubicBezTo>
                <a:lnTo>
                  <a:pt x="452" y="271"/>
                </a:lnTo>
                <a:close/>
                <a:moveTo>
                  <a:pt x="452" y="404"/>
                </a:moveTo>
                <a:cubicBezTo>
                  <a:pt x="542" y="404"/>
                  <a:pt x="542" y="404"/>
                  <a:pt x="542" y="404"/>
                </a:cubicBezTo>
                <a:cubicBezTo>
                  <a:pt x="542" y="723"/>
                  <a:pt x="542" y="723"/>
                  <a:pt x="542" y="723"/>
                </a:cubicBezTo>
                <a:cubicBezTo>
                  <a:pt x="452" y="723"/>
                  <a:pt x="452" y="723"/>
                  <a:pt x="452" y="723"/>
                </a:cubicBezTo>
                <a:lnTo>
                  <a:pt x="452" y="40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120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D4E947-25A2-603B-143B-3A7A6F1DCD89}"/>
              </a:ext>
            </a:extLst>
          </p:cNvPr>
          <p:cNvSpPr txBox="1"/>
          <p:nvPr/>
        </p:nvSpPr>
        <p:spPr bwMode="gray">
          <a:xfrm>
            <a:off x="806550" y="2405150"/>
            <a:ext cx="1606867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err="1">
                <a:solidFill>
                  <a:srgbClr val="011627"/>
                </a:solidFill>
                <a:latin typeface="Century Gothic"/>
                <a:cs typeface="AdihausDIN" panose="020B0504020101020102" pitchFamily="34" charset="0"/>
              </a:rPr>
              <a:t>Trp’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AC81DC2-35CE-4E49-6C80-517E313DB787}"/>
              </a:ext>
            </a:extLst>
          </p:cNvPr>
          <p:cNvSpPr txBox="1"/>
          <p:nvPr/>
        </p:nvSpPr>
        <p:spPr bwMode="gray">
          <a:xfrm>
            <a:off x="8777532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Resultado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943CDF5-2DC8-A0BF-458B-AF59D04E6C1E}"/>
              </a:ext>
            </a:extLst>
          </p:cNvPr>
          <p:cNvCxnSpPr/>
          <p:nvPr/>
        </p:nvCxnSpPr>
        <p:spPr>
          <a:xfrm>
            <a:off x="4114982" y="2109833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161FABC-A580-F1FB-107A-83ADCBAE6A53}"/>
              </a:ext>
            </a:extLst>
          </p:cNvPr>
          <p:cNvCxnSpPr/>
          <p:nvPr/>
        </p:nvCxnSpPr>
        <p:spPr>
          <a:xfrm>
            <a:off x="4114982" y="1089811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0628E9C6-36B7-2E3F-6B70-CE5AC8F31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6F8452F6-7DE5-FC3A-E2D5-42A27D64F80D}"/>
              </a:ext>
            </a:extLst>
          </p:cNvPr>
          <p:cNvSpPr txBox="1">
            <a:spLocks/>
          </p:cNvSpPr>
          <p:nvPr/>
        </p:nvSpPr>
        <p:spPr>
          <a:xfrm>
            <a:off x="257019" y="2872794"/>
            <a:ext cx="5453291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9262D76-9A16-683A-1C06-91084C0C5A34}"/>
              </a:ext>
            </a:extLst>
          </p:cNvPr>
          <p:cNvCxnSpPr/>
          <p:nvPr/>
        </p:nvCxnSpPr>
        <p:spPr>
          <a:xfrm>
            <a:off x="247518" y="2869619"/>
            <a:ext cx="5472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3">
            <a:extLst>
              <a:ext uri="{FF2B5EF4-FFF2-40B4-BE49-F238E27FC236}">
                <a16:creationId xmlns:a16="http://schemas.microsoft.com/office/drawing/2014/main" id="{6BE546B9-4FE3-5E3F-7EDA-82F26FC062A1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2" name="Round Same-side Corner of Rectangle 28">
              <a:extLst>
                <a:ext uri="{FF2B5EF4-FFF2-40B4-BE49-F238E27FC236}">
                  <a16:creationId xmlns:a16="http://schemas.microsoft.com/office/drawing/2014/main" id="{A19B98B2-C6B4-7F47-E38E-ECE7CD422F57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B06F0F45-BCA4-6721-9483-7968675F81AA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0" name="Oval 44">
                <a:extLst>
                  <a:ext uri="{FF2B5EF4-FFF2-40B4-BE49-F238E27FC236}">
                    <a16:creationId xmlns:a16="http://schemas.microsoft.com/office/drawing/2014/main" id="{110A085F-A824-0FBB-3426-B83C71C2CA50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3" name="TextBox 45">
                <a:extLst>
                  <a:ext uri="{FF2B5EF4-FFF2-40B4-BE49-F238E27FC236}">
                    <a16:creationId xmlns:a16="http://schemas.microsoft.com/office/drawing/2014/main" id="{330EE13E-FA8C-A7B8-3A95-50714C9544DE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4" name="Google Shape;1194;p40">
              <a:extLst>
                <a:ext uri="{FF2B5EF4-FFF2-40B4-BE49-F238E27FC236}">
                  <a16:creationId xmlns:a16="http://schemas.microsoft.com/office/drawing/2014/main" id="{E1F879EC-0902-AB19-CDA3-CE22BD08C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8" name="Oval 31">
            <a:extLst>
              <a:ext uri="{FF2B5EF4-FFF2-40B4-BE49-F238E27FC236}">
                <a16:creationId xmlns:a16="http://schemas.microsoft.com/office/drawing/2014/main" id="{DF920E4F-E050-C785-B38B-439D254E1831}"/>
              </a:ext>
            </a:extLst>
          </p:cNvPr>
          <p:cNvSpPr/>
          <p:nvPr/>
        </p:nvSpPr>
        <p:spPr>
          <a:xfrm>
            <a:off x="251311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Freeform 131">
            <a:extLst>
              <a:ext uri="{FF2B5EF4-FFF2-40B4-BE49-F238E27FC236}">
                <a16:creationId xmlns:a16="http://schemas.microsoft.com/office/drawing/2014/main" id="{74C148ED-22C7-1849-449F-41676633946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330512" y="2391149"/>
            <a:ext cx="273268" cy="274920"/>
          </a:xfrm>
          <a:custGeom>
            <a:avLst/>
            <a:gdLst>
              <a:gd name="T0" fmla="*/ 1207 w 1207"/>
              <a:gd name="T1" fmla="*/ 1047 h 1207"/>
              <a:gd name="T2" fmla="*/ 1167 w 1207"/>
              <a:gd name="T3" fmla="*/ 1087 h 1207"/>
              <a:gd name="T4" fmla="*/ 1047 w 1207"/>
              <a:gd name="T5" fmla="*/ 1207 h 1207"/>
              <a:gd name="T6" fmla="*/ 1007 w 1207"/>
              <a:gd name="T7" fmla="*/ 1167 h 1207"/>
              <a:gd name="T8" fmla="*/ 1099 w 1207"/>
              <a:gd name="T9" fmla="*/ 1076 h 1207"/>
              <a:gd name="T10" fmla="*/ 188 w 1207"/>
              <a:gd name="T11" fmla="*/ 1076 h 1207"/>
              <a:gd name="T12" fmla="*/ 132 w 1207"/>
              <a:gd name="T13" fmla="*/ 1076 h 1207"/>
              <a:gd name="T14" fmla="*/ 132 w 1207"/>
              <a:gd name="T15" fmla="*/ 1019 h 1207"/>
              <a:gd name="T16" fmla="*/ 132 w 1207"/>
              <a:gd name="T17" fmla="*/ 109 h 1207"/>
              <a:gd name="T18" fmla="*/ 40 w 1207"/>
              <a:gd name="T19" fmla="*/ 200 h 1207"/>
              <a:gd name="T20" fmla="*/ 0 w 1207"/>
              <a:gd name="T21" fmla="*/ 160 h 1207"/>
              <a:gd name="T22" fmla="*/ 120 w 1207"/>
              <a:gd name="T23" fmla="*/ 40 h 1207"/>
              <a:gd name="T24" fmla="*/ 160 w 1207"/>
              <a:gd name="T25" fmla="*/ 0 h 1207"/>
              <a:gd name="T26" fmla="*/ 200 w 1207"/>
              <a:gd name="T27" fmla="*/ 40 h 1207"/>
              <a:gd name="T28" fmla="*/ 320 w 1207"/>
              <a:gd name="T29" fmla="*/ 160 h 1207"/>
              <a:gd name="T30" fmla="*/ 280 w 1207"/>
              <a:gd name="T31" fmla="*/ 200 h 1207"/>
              <a:gd name="T32" fmla="*/ 188 w 1207"/>
              <a:gd name="T33" fmla="*/ 109 h 1207"/>
              <a:gd name="T34" fmla="*/ 188 w 1207"/>
              <a:gd name="T35" fmla="*/ 1019 h 1207"/>
              <a:gd name="T36" fmla="*/ 1099 w 1207"/>
              <a:gd name="T37" fmla="*/ 1019 h 1207"/>
              <a:gd name="T38" fmla="*/ 1007 w 1207"/>
              <a:gd name="T39" fmla="*/ 927 h 1207"/>
              <a:gd name="T40" fmla="*/ 1047 w 1207"/>
              <a:gd name="T41" fmla="*/ 887 h 1207"/>
              <a:gd name="T42" fmla="*/ 1167 w 1207"/>
              <a:gd name="T43" fmla="*/ 1007 h 1207"/>
              <a:gd name="T44" fmla="*/ 1207 w 1207"/>
              <a:gd name="T45" fmla="*/ 1047 h 1207"/>
              <a:gd name="T46" fmla="*/ 300 w 1207"/>
              <a:gd name="T47" fmla="*/ 799 h 1207"/>
              <a:gd name="T48" fmla="*/ 469 w 1207"/>
              <a:gd name="T49" fmla="*/ 481 h 1207"/>
              <a:gd name="T50" fmla="*/ 614 w 1207"/>
              <a:gd name="T51" fmla="*/ 664 h 1207"/>
              <a:gd name="T52" fmla="*/ 784 w 1207"/>
              <a:gd name="T53" fmla="*/ 878 h 1207"/>
              <a:gd name="T54" fmla="*/ 954 w 1207"/>
              <a:gd name="T55" fmla="*/ 597 h 1207"/>
              <a:gd name="T56" fmla="*/ 1164 w 1207"/>
              <a:gd name="T57" fmla="*/ 195 h 1207"/>
              <a:gd name="T58" fmla="*/ 1137 w 1207"/>
              <a:gd name="T59" fmla="*/ 145 h 1207"/>
              <a:gd name="T60" fmla="*/ 900 w 1207"/>
              <a:gd name="T61" fmla="*/ 582 h 1207"/>
              <a:gd name="T62" fmla="*/ 784 w 1207"/>
              <a:gd name="T63" fmla="*/ 821 h 1207"/>
              <a:gd name="T64" fmla="*/ 667 w 1207"/>
              <a:gd name="T65" fmla="*/ 645 h 1207"/>
              <a:gd name="T66" fmla="*/ 457 w 1207"/>
              <a:gd name="T67" fmla="*/ 425 h 1207"/>
              <a:gd name="T68" fmla="*/ 245 w 1207"/>
              <a:gd name="T69" fmla="*/ 787 h 1207"/>
              <a:gd name="T70" fmla="*/ 300 w 1207"/>
              <a:gd name="T71" fmla="*/ 799 h 1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07" h="1207">
                <a:moveTo>
                  <a:pt x="1207" y="1047"/>
                </a:moveTo>
                <a:cubicBezTo>
                  <a:pt x="1167" y="1087"/>
                  <a:pt x="1167" y="1087"/>
                  <a:pt x="1167" y="1087"/>
                </a:cubicBezTo>
                <a:cubicBezTo>
                  <a:pt x="1047" y="1207"/>
                  <a:pt x="1047" y="1207"/>
                  <a:pt x="1047" y="1207"/>
                </a:cubicBezTo>
                <a:cubicBezTo>
                  <a:pt x="1007" y="1167"/>
                  <a:pt x="1007" y="1167"/>
                  <a:pt x="1007" y="1167"/>
                </a:cubicBezTo>
                <a:cubicBezTo>
                  <a:pt x="1099" y="1076"/>
                  <a:pt x="1099" y="1076"/>
                  <a:pt x="1099" y="1076"/>
                </a:cubicBezTo>
                <a:cubicBezTo>
                  <a:pt x="188" y="1076"/>
                  <a:pt x="188" y="1076"/>
                  <a:pt x="188" y="1076"/>
                </a:cubicBezTo>
                <a:cubicBezTo>
                  <a:pt x="132" y="1076"/>
                  <a:pt x="132" y="1076"/>
                  <a:pt x="132" y="1076"/>
                </a:cubicBezTo>
                <a:cubicBezTo>
                  <a:pt x="132" y="1019"/>
                  <a:pt x="132" y="1019"/>
                  <a:pt x="132" y="1019"/>
                </a:cubicBezTo>
                <a:cubicBezTo>
                  <a:pt x="132" y="109"/>
                  <a:pt x="132" y="109"/>
                  <a:pt x="132" y="109"/>
                </a:cubicBezTo>
                <a:cubicBezTo>
                  <a:pt x="40" y="200"/>
                  <a:pt x="40" y="200"/>
                  <a:pt x="40" y="200"/>
                </a:cubicBezTo>
                <a:cubicBezTo>
                  <a:pt x="0" y="160"/>
                  <a:pt x="0" y="160"/>
                  <a:pt x="0" y="16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60" y="0"/>
                  <a:pt x="160" y="0"/>
                  <a:pt x="160" y="0"/>
                </a:cubicBezTo>
                <a:cubicBezTo>
                  <a:pt x="200" y="40"/>
                  <a:pt x="200" y="40"/>
                  <a:pt x="200" y="4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280" y="200"/>
                  <a:pt x="280" y="200"/>
                  <a:pt x="280" y="200"/>
                </a:cubicBezTo>
                <a:cubicBezTo>
                  <a:pt x="188" y="109"/>
                  <a:pt x="188" y="109"/>
                  <a:pt x="188" y="109"/>
                </a:cubicBezTo>
                <a:cubicBezTo>
                  <a:pt x="188" y="1019"/>
                  <a:pt x="188" y="1019"/>
                  <a:pt x="188" y="1019"/>
                </a:cubicBezTo>
                <a:cubicBezTo>
                  <a:pt x="1099" y="1019"/>
                  <a:pt x="1099" y="1019"/>
                  <a:pt x="1099" y="1019"/>
                </a:cubicBezTo>
                <a:cubicBezTo>
                  <a:pt x="1007" y="927"/>
                  <a:pt x="1007" y="927"/>
                  <a:pt x="1007" y="927"/>
                </a:cubicBezTo>
                <a:cubicBezTo>
                  <a:pt x="1047" y="887"/>
                  <a:pt x="1047" y="887"/>
                  <a:pt x="1047" y="887"/>
                </a:cubicBezTo>
                <a:cubicBezTo>
                  <a:pt x="1167" y="1007"/>
                  <a:pt x="1167" y="1007"/>
                  <a:pt x="1167" y="1007"/>
                </a:cubicBezTo>
                <a:lnTo>
                  <a:pt x="1207" y="1047"/>
                </a:lnTo>
                <a:close/>
                <a:moveTo>
                  <a:pt x="300" y="799"/>
                </a:moveTo>
                <a:cubicBezTo>
                  <a:pt x="338" y="625"/>
                  <a:pt x="408" y="495"/>
                  <a:pt x="469" y="481"/>
                </a:cubicBezTo>
                <a:cubicBezTo>
                  <a:pt x="537" y="465"/>
                  <a:pt x="570" y="543"/>
                  <a:pt x="614" y="664"/>
                </a:cubicBezTo>
                <a:cubicBezTo>
                  <a:pt x="651" y="769"/>
                  <a:pt x="690" y="878"/>
                  <a:pt x="784" y="878"/>
                </a:cubicBezTo>
                <a:cubicBezTo>
                  <a:pt x="878" y="878"/>
                  <a:pt x="913" y="748"/>
                  <a:pt x="954" y="597"/>
                </a:cubicBezTo>
                <a:cubicBezTo>
                  <a:pt x="997" y="438"/>
                  <a:pt x="1046" y="257"/>
                  <a:pt x="1164" y="195"/>
                </a:cubicBezTo>
                <a:cubicBezTo>
                  <a:pt x="1137" y="145"/>
                  <a:pt x="1137" y="145"/>
                  <a:pt x="1137" y="145"/>
                </a:cubicBezTo>
                <a:cubicBezTo>
                  <a:pt x="998" y="219"/>
                  <a:pt x="946" y="412"/>
                  <a:pt x="900" y="582"/>
                </a:cubicBezTo>
                <a:cubicBezTo>
                  <a:pt x="868" y="700"/>
                  <a:pt x="835" y="821"/>
                  <a:pt x="784" y="821"/>
                </a:cubicBezTo>
                <a:cubicBezTo>
                  <a:pt x="730" y="821"/>
                  <a:pt x="698" y="732"/>
                  <a:pt x="667" y="645"/>
                </a:cubicBezTo>
                <a:cubicBezTo>
                  <a:pt x="625" y="529"/>
                  <a:pt x="579" y="398"/>
                  <a:pt x="457" y="425"/>
                </a:cubicBezTo>
                <a:cubicBezTo>
                  <a:pt x="354" y="449"/>
                  <a:pt x="280" y="627"/>
                  <a:pt x="245" y="787"/>
                </a:cubicBezTo>
                <a:lnTo>
                  <a:pt x="300" y="799"/>
                </a:lnTo>
                <a:close/>
              </a:path>
            </a:pathLst>
          </a:custGeom>
          <a:solidFill>
            <a:srgbClr val="011627"/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88FCAF3F-AEF1-CB72-9689-31972D2D2792}"/>
              </a:ext>
            </a:extLst>
          </p:cNvPr>
          <p:cNvSpPr txBox="1"/>
          <p:nvPr/>
        </p:nvSpPr>
        <p:spPr>
          <a:xfrm>
            <a:off x="5029554" y="1189680"/>
            <a:ext cx="49534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Uso de TV abierta + TV Pag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´s en mes alto : 922 Trp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’s en mes bajo : 624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Duración de spot: 15ss + patrocinio de eventos</a:t>
            </a:r>
            <a:endParaRPr lang="es-GT" sz="1200" dirty="0">
              <a:solidFill>
                <a:srgbClr val="0A0F0D"/>
              </a:solidFill>
              <a:latin typeface="Century Gothic"/>
            </a:endParaRPr>
          </a:p>
        </p:txBody>
      </p:sp>
      <p:grpSp>
        <p:nvGrpSpPr>
          <p:cNvPr id="66" name="Group 15">
            <a:extLst>
              <a:ext uri="{FF2B5EF4-FFF2-40B4-BE49-F238E27FC236}">
                <a16:creationId xmlns:a16="http://schemas.microsoft.com/office/drawing/2014/main" id="{B9EC7145-A7AD-9D97-B5D8-D7C6C4197EA8}"/>
              </a:ext>
            </a:extLst>
          </p:cNvPr>
          <p:cNvGrpSpPr/>
          <p:nvPr/>
        </p:nvGrpSpPr>
        <p:grpSpPr>
          <a:xfrm>
            <a:off x="5966162" y="2382950"/>
            <a:ext cx="214434" cy="261022"/>
            <a:chOff x="5757290" y="2898545"/>
            <a:chExt cx="677417" cy="824595"/>
          </a:xfrm>
        </p:grpSpPr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EDE63BC0-EDC9-FE59-ABFB-2B137D7DF232}"/>
                </a:ext>
              </a:extLst>
            </p:cNvPr>
            <p:cNvSpPr/>
            <p:nvPr/>
          </p:nvSpPr>
          <p:spPr>
            <a:xfrm>
              <a:off x="5757290" y="2898545"/>
              <a:ext cx="677417" cy="824595"/>
            </a:xfrm>
            <a:custGeom>
              <a:avLst/>
              <a:gdLst>
                <a:gd name="connsiteX0" fmla="*/ 677418 w 677417"/>
                <a:gd name="connsiteY0" fmla="*/ 56314 h 824595"/>
                <a:gd name="connsiteX1" fmla="*/ 422910 w 677417"/>
                <a:gd name="connsiteY1" fmla="*/ 56314 h 824595"/>
                <a:gd name="connsiteX2" fmla="*/ 304727 w 677417"/>
                <a:gd name="connsiteY2" fmla="*/ 6591 h 824595"/>
                <a:gd name="connsiteX3" fmla="*/ 254603 w 677417"/>
                <a:gd name="connsiteY3" fmla="*/ 56314 h 824595"/>
                <a:gd name="connsiteX4" fmla="*/ 0 w 677417"/>
                <a:gd name="connsiteY4" fmla="*/ 56314 h 824595"/>
                <a:gd name="connsiteX5" fmla="*/ 0 w 677417"/>
                <a:gd name="connsiteY5" fmla="*/ 824596 h 824595"/>
                <a:gd name="connsiteX6" fmla="*/ 677418 w 677417"/>
                <a:gd name="connsiteY6" fmla="*/ 824596 h 824595"/>
                <a:gd name="connsiteX7" fmla="*/ 283940 w 677417"/>
                <a:gd name="connsiteY7" fmla="*/ 94109 h 824595"/>
                <a:gd name="connsiteX8" fmla="*/ 287179 w 677417"/>
                <a:gd name="connsiteY8" fmla="*/ 79180 h 824595"/>
                <a:gd name="connsiteX9" fmla="*/ 349903 w 677417"/>
                <a:gd name="connsiteY9" fmla="*/ 39072 h 824595"/>
                <a:gd name="connsiteX10" fmla="*/ 390335 w 677417"/>
                <a:gd name="connsiteY10" fmla="*/ 79180 h 824595"/>
                <a:gd name="connsiteX11" fmla="*/ 393573 w 677417"/>
                <a:gd name="connsiteY11" fmla="*/ 94109 h 824595"/>
                <a:gd name="connsiteX12" fmla="*/ 450723 w 677417"/>
                <a:gd name="connsiteY12" fmla="*/ 94109 h 824595"/>
                <a:gd name="connsiteX13" fmla="*/ 450723 w 677417"/>
                <a:gd name="connsiteY13" fmla="*/ 165448 h 824595"/>
                <a:gd name="connsiteX14" fmla="*/ 226790 w 677417"/>
                <a:gd name="connsiteY14" fmla="*/ 165448 h 824595"/>
                <a:gd name="connsiteX15" fmla="*/ 226790 w 677417"/>
                <a:gd name="connsiteY15" fmla="*/ 94109 h 824595"/>
                <a:gd name="connsiteX16" fmla="*/ 639318 w 677417"/>
                <a:gd name="connsiteY16" fmla="*/ 786801 h 824595"/>
                <a:gd name="connsiteX17" fmla="*/ 38100 w 677417"/>
                <a:gd name="connsiteY17" fmla="*/ 786801 h 824595"/>
                <a:gd name="connsiteX18" fmla="*/ 38100 w 677417"/>
                <a:gd name="connsiteY18" fmla="*/ 94109 h 824595"/>
                <a:gd name="connsiteX19" fmla="*/ 188690 w 677417"/>
                <a:gd name="connsiteY19" fmla="*/ 94109 h 824595"/>
                <a:gd name="connsiteX20" fmla="*/ 188690 w 677417"/>
                <a:gd name="connsiteY20" fmla="*/ 203243 h 824595"/>
                <a:gd name="connsiteX21" fmla="*/ 488728 w 677417"/>
                <a:gd name="connsiteY21" fmla="*/ 203243 h 824595"/>
                <a:gd name="connsiteX22" fmla="*/ 488728 w 677417"/>
                <a:gd name="connsiteY22" fmla="*/ 94109 h 824595"/>
                <a:gd name="connsiteX23" fmla="*/ 639318 w 677417"/>
                <a:gd name="connsiteY23" fmla="*/ 94109 h 8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77417" h="824595">
                  <a:moveTo>
                    <a:pt x="677418" y="56314"/>
                  </a:moveTo>
                  <a:lnTo>
                    <a:pt x="422910" y="56314"/>
                  </a:lnTo>
                  <a:cubicBezTo>
                    <a:pt x="404116" y="10209"/>
                    <a:pt x="351204" y="-12053"/>
                    <a:pt x="304727" y="6591"/>
                  </a:cubicBezTo>
                  <a:cubicBezTo>
                    <a:pt x="281916" y="15741"/>
                    <a:pt x="263827" y="33685"/>
                    <a:pt x="254603" y="56314"/>
                  </a:cubicBezTo>
                  <a:lnTo>
                    <a:pt x="0" y="56314"/>
                  </a:lnTo>
                  <a:lnTo>
                    <a:pt x="0" y="824596"/>
                  </a:lnTo>
                  <a:lnTo>
                    <a:pt x="677418" y="824596"/>
                  </a:lnTo>
                  <a:close/>
                  <a:moveTo>
                    <a:pt x="283940" y="94109"/>
                  </a:moveTo>
                  <a:lnTo>
                    <a:pt x="287179" y="79180"/>
                  </a:lnTo>
                  <a:cubicBezTo>
                    <a:pt x="293335" y="50922"/>
                    <a:pt x="321417" y="32965"/>
                    <a:pt x="349903" y="39072"/>
                  </a:cubicBezTo>
                  <a:cubicBezTo>
                    <a:pt x="370147" y="43412"/>
                    <a:pt x="385960" y="59098"/>
                    <a:pt x="390335" y="79180"/>
                  </a:cubicBezTo>
                  <a:lnTo>
                    <a:pt x="393573" y="94109"/>
                  </a:lnTo>
                  <a:lnTo>
                    <a:pt x="450723" y="94109"/>
                  </a:lnTo>
                  <a:lnTo>
                    <a:pt x="450723" y="165448"/>
                  </a:lnTo>
                  <a:lnTo>
                    <a:pt x="226790" y="165448"/>
                  </a:lnTo>
                  <a:lnTo>
                    <a:pt x="226790" y="94109"/>
                  </a:lnTo>
                  <a:close/>
                  <a:moveTo>
                    <a:pt x="639318" y="786801"/>
                  </a:moveTo>
                  <a:lnTo>
                    <a:pt x="38100" y="786801"/>
                  </a:lnTo>
                  <a:lnTo>
                    <a:pt x="38100" y="94109"/>
                  </a:lnTo>
                  <a:lnTo>
                    <a:pt x="188690" y="94109"/>
                  </a:lnTo>
                  <a:lnTo>
                    <a:pt x="188690" y="203243"/>
                  </a:lnTo>
                  <a:lnTo>
                    <a:pt x="488728" y="203243"/>
                  </a:lnTo>
                  <a:lnTo>
                    <a:pt x="488728" y="94109"/>
                  </a:lnTo>
                  <a:lnTo>
                    <a:pt x="639318" y="9410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7D09A10F-77CB-739E-F309-2378B0830C7A}"/>
                </a:ext>
              </a:extLst>
            </p:cNvPr>
            <p:cNvSpPr/>
            <p:nvPr/>
          </p:nvSpPr>
          <p:spPr>
            <a:xfrm>
              <a:off x="5881687" y="3208559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799F534B-8BB6-FF88-1D85-36E20FA4196B}"/>
                </a:ext>
              </a:extLst>
            </p:cNvPr>
            <p:cNvSpPr/>
            <p:nvPr/>
          </p:nvSpPr>
          <p:spPr>
            <a:xfrm>
              <a:off x="6079140" y="3263646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DCA79E9F-FDB9-5F5A-E1C3-12CAD396D5FD}"/>
                </a:ext>
              </a:extLst>
            </p:cNvPr>
            <p:cNvSpPr/>
            <p:nvPr/>
          </p:nvSpPr>
          <p:spPr>
            <a:xfrm>
              <a:off x="5881687" y="3435330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DE427F10-C7E8-FDEE-1CE1-7C7769D29AE0}"/>
                </a:ext>
              </a:extLst>
            </p:cNvPr>
            <p:cNvSpPr/>
            <p:nvPr/>
          </p:nvSpPr>
          <p:spPr>
            <a:xfrm>
              <a:off x="6079140" y="3490417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4" name="TextBox 33">
            <a:extLst>
              <a:ext uri="{FF2B5EF4-FFF2-40B4-BE49-F238E27FC236}">
                <a16:creationId xmlns:a16="http://schemas.microsoft.com/office/drawing/2014/main" id="{AEFD2E9B-5C6F-999A-AE40-9F58EC96418E}"/>
              </a:ext>
            </a:extLst>
          </p:cNvPr>
          <p:cNvSpPr txBox="1"/>
          <p:nvPr/>
        </p:nvSpPr>
        <p:spPr bwMode="gray">
          <a:xfrm>
            <a:off x="6352163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anal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75" name="Straight Connector 48">
            <a:extLst>
              <a:ext uri="{FF2B5EF4-FFF2-40B4-BE49-F238E27FC236}">
                <a16:creationId xmlns:a16="http://schemas.microsoft.com/office/drawing/2014/main" id="{D832014C-AE62-6305-4C2E-8017B0D37025}"/>
              </a:ext>
            </a:extLst>
          </p:cNvPr>
          <p:cNvCxnSpPr/>
          <p:nvPr/>
        </p:nvCxnSpPr>
        <p:spPr>
          <a:xfrm>
            <a:off x="5856347" y="2872119"/>
            <a:ext cx="2304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" descr="Canal 5 El Líder - Honduras Logo PNG Vector (CDR) Free Download">
            <a:extLst>
              <a:ext uri="{FF2B5EF4-FFF2-40B4-BE49-F238E27FC236}">
                <a16:creationId xmlns:a16="http://schemas.microsoft.com/office/drawing/2014/main" id="{591AE804-13C0-2749-8CA9-5DBA6FA8A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9681" y="3193596"/>
            <a:ext cx="479866" cy="339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2" descr="HCH Radio | HCH.TV">
            <a:extLst>
              <a:ext uri="{FF2B5EF4-FFF2-40B4-BE49-F238E27FC236}">
                <a16:creationId xmlns:a16="http://schemas.microsoft.com/office/drawing/2014/main" id="{F1A18B62-180B-C145-A849-086BCF7DE8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6348" r="-2838" b="33314"/>
          <a:stretch/>
        </p:blipFill>
        <p:spPr bwMode="auto">
          <a:xfrm>
            <a:off x="7002463" y="3193074"/>
            <a:ext cx="773654" cy="30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A38B20EC-6E2C-3649-A555-176610731A28}"/>
              </a:ext>
            </a:extLst>
          </p:cNvPr>
          <p:cNvCxnSpPr/>
          <p:nvPr/>
        </p:nvCxnSpPr>
        <p:spPr>
          <a:xfrm>
            <a:off x="6180596" y="3714750"/>
            <a:ext cx="1620379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73138D17-6FF9-AE4F-89D9-CD05F0FCB3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4063384"/>
              </p:ext>
            </p:extLst>
          </p:nvPr>
        </p:nvGraphicFramePr>
        <p:xfrm>
          <a:off x="330511" y="2982614"/>
          <a:ext cx="5367431" cy="2549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extBox 30">
            <a:extLst>
              <a:ext uri="{FF2B5EF4-FFF2-40B4-BE49-F238E27FC236}">
                <a16:creationId xmlns:a16="http://schemas.microsoft.com/office/drawing/2014/main" id="{596C2664-0837-594E-9EDD-E4AE62EC931D}"/>
              </a:ext>
            </a:extLst>
          </p:cNvPr>
          <p:cNvSpPr txBox="1"/>
          <p:nvPr/>
        </p:nvSpPr>
        <p:spPr bwMode="gray">
          <a:xfrm>
            <a:off x="4185007" y="793516"/>
            <a:ext cx="5318757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11627"/>
                </a:solidFill>
                <a:latin typeface="Century Gothic"/>
                <a:cs typeface="AdihausDIN" panose="020B0504020101020102" pitchFamily="34" charset="0"/>
              </a:rPr>
              <a:t>C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ompetenci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direct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sin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ctivida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:</a:t>
            </a:r>
          </a:p>
        </p:txBody>
      </p:sp>
      <p:pic>
        <p:nvPicPr>
          <p:cNvPr id="1028" name="Picture 4" descr="Dolomil Fem caja x 10 Tabletas - Laboratorios Quimifar">
            <a:extLst>
              <a:ext uri="{FF2B5EF4-FFF2-40B4-BE49-F238E27FC236}">
                <a16:creationId xmlns:a16="http://schemas.microsoft.com/office/drawing/2014/main" id="{90453961-33C7-BC47-84A0-83BFF447B5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13" r="7290" b="18350"/>
          <a:stretch/>
        </p:blipFill>
        <p:spPr bwMode="auto">
          <a:xfrm>
            <a:off x="8073459" y="294581"/>
            <a:ext cx="1066982" cy="818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8705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V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evento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2" y="2312502"/>
            <a:ext cx="2540613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l patrocinio de eventos orientados al segmento juvenil, como la Reina Estudiantil y competencias coreográficas de colegios,  ofrecen a Dorival una plataforma valiosa para fortalecer su presencia de marca y conectar de manera significativa con el segmento jovén femenino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377466" y="2285829"/>
            <a:ext cx="239146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trocin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vent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organiza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or Canal HCH L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Novi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studiantil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jun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lusiv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studiante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“Viva Tu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alent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Baile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”,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ncurs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reografí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con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studiant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iferent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colegios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" name="WhatsApp Video 2024-10-13 at 9.03.33 PM.mp4" descr="WhatsApp Video 2024-10-13 at 9.03.33 PM.mp4">
            <a:hlinkClick r:id="" action="ppaction://media"/>
            <a:extLst>
              <a:ext uri="{FF2B5EF4-FFF2-40B4-BE49-F238E27FC236}">
                <a16:creationId xmlns:a16="http://schemas.microsoft.com/office/drawing/2014/main" id="{1E59944A-CA09-664E-B678-AB4A39B2A13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382869" y="1728787"/>
            <a:ext cx="5410200" cy="3048000"/>
          </a:xfrm>
          <a:prstGeom prst="rect">
            <a:avLst/>
          </a:prstGeom>
        </p:spPr>
      </p:pic>
      <p:pic>
        <p:nvPicPr>
          <p:cNvPr id="24" name="Picture 2" descr="Dorival">
            <a:extLst>
              <a:ext uri="{FF2B5EF4-FFF2-40B4-BE49-F238E27FC236}">
                <a16:creationId xmlns:a16="http://schemas.microsoft.com/office/drawing/2014/main" id="{573B583E-C630-1B4B-BE9F-E2F6141D11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32" y="503673"/>
            <a:ext cx="941941" cy="45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6839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87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V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Exposiciones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interactiva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xposiciones animadas, representa una estrategia innovadora y efectiva para captar la atención de una audiencia masiva. 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377466" y="2285829"/>
            <a:ext cx="239146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rticipaci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ogram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El Hilo de Canal 5 (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farándul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lternar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con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ogram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portivo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onduci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or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ujer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“Las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ueñ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Bal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4" name="Picture 12">
            <a:hlinkClick r:id="" action="ppaction://media"/>
            <a:extLst>
              <a:ext uri="{FF2B5EF4-FFF2-40B4-BE49-F238E27FC236}">
                <a16:creationId xmlns:a16="http://schemas.microsoft.com/office/drawing/2014/main" id="{73A7CEDC-101B-A448-9041-D361D6444B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/>
          <a:stretch>
            <a:fillRect/>
          </a:stretch>
        </p:blipFill>
        <p:spPr>
          <a:xfrm>
            <a:off x="6183313" y="1815304"/>
            <a:ext cx="5158740" cy="2901792"/>
          </a:xfrm>
          <a:prstGeom prst="rect">
            <a:avLst/>
          </a:prstGeom>
        </p:spPr>
      </p:pic>
      <p:pic>
        <p:nvPicPr>
          <p:cNvPr id="28" name="Picture 2" descr="Dorival">
            <a:extLst>
              <a:ext uri="{FF2B5EF4-FFF2-40B4-BE49-F238E27FC236}">
                <a16:creationId xmlns:a16="http://schemas.microsoft.com/office/drawing/2014/main" id="{3E3E005F-C79D-414D-B96D-8616013C1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32" y="503673"/>
            <a:ext cx="941941" cy="45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2461120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V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Influencer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l uso de influencers juveniles para la marca Dorival no solo maximiza el alcance y la visibilidad, sino que también crea una conexión auténtica y significativa con el público joven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8" name="Picture 2" descr="Dorival">
            <a:extLst>
              <a:ext uri="{FF2B5EF4-FFF2-40B4-BE49-F238E27FC236}">
                <a16:creationId xmlns:a16="http://schemas.microsoft.com/office/drawing/2014/main" id="{3E3E005F-C79D-414D-B96D-8616013C1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32" y="503673"/>
            <a:ext cx="941941" cy="45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oup 9">
            <a:extLst>
              <a:ext uri="{FF2B5EF4-FFF2-40B4-BE49-F238E27FC236}">
                <a16:creationId xmlns:a16="http://schemas.microsoft.com/office/drawing/2014/main" id="{900859B9-916D-8B41-ABBD-03AD7F608642}"/>
              </a:ext>
            </a:extLst>
          </p:cNvPr>
          <p:cNvGrpSpPr>
            <a:grpSpLocks noChangeAspect="1"/>
          </p:cNvGrpSpPr>
          <p:nvPr/>
        </p:nvGrpSpPr>
        <p:grpSpPr>
          <a:xfrm>
            <a:off x="7457021" y="195896"/>
            <a:ext cx="3664768" cy="3664754"/>
            <a:chOff x="0" y="0"/>
            <a:chExt cx="6350000" cy="6349975"/>
          </a:xfrm>
        </p:grpSpPr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993FCA45-7F86-0B4D-A1A0-D9AABFA1B4D5}"/>
                </a:ext>
              </a:extLst>
            </p:cNvPr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3"/>
              <a:stretch>
                <a:fillRect t="-11771" b="-11771"/>
              </a:stretch>
            </a:blipFill>
          </p:spPr>
        </p:sp>
      </p:grpSp>
      <p:sp>
        <p:nvSpPr>
          <p:cNvPr id="31" name="TextBox 17">
            <a:extLst>
              <a:ext uri="{FF2B5EF4-FFF2-40B4-BE49-F238E27FC236}">
                <a16:creationId xmlns:a16="http://schemas.microsoft.com/office/drawing/2014/main" id="{41B9985F-3B61-3C4A-9138-A8ECE0C26C53}"/>
              </a:ext>
            </a:extLst>
          </p:cNvPr>
          <p:cNvSpPr txBox="1"/>
          <p:nvPr/>
        </p:nvSpPr>
        <p:spPr>
          <a:xfrm>
            <a:off x="8153507" y="4083859"/>
            <a:ext cx="2588932" cy="22907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24 </a:t>
            </a:r>
            <a:r>
              <a:rPr lang="en-US" sz="1266" dirty="0" err="1">
                <a:latin typeface="Century Gothic" panose="020B0502020202020204" pitchFamily="34" charset="0"/>
              </a:rPr>
              <a:t>Años</a:t>
            </a:r>
            <a:endParaRPr lang="en-US" sz="1266" dirty="0">
              <a:latin typeface="Century Gothic" panose="020B0502020202020204" pitchFamily="34" charset="0"/>
            </a:endParaRP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Soltera</a:t>
            </a:r>
            <a:endParaRPr lang="en-US" sz="1266" dirty="0">
              <a:latin typeface="Century Gothic" panose="020B0502020202020204" pitchFamily="34" charset="0"/>
            </a:endParaRP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Presentadora</a:t>
            </a:r>
            <a:r>
              <a:rPr lang="en-US" sz="1266" dirty="0">
                <a:latin typeface="Century Gothic" panose="020B0502020202020204" pitchFamily="34" charset="0"/>
              </a:rPr>
              <a:t>/</a:t>
            </a:r>
            <a:r>
              <a:rPr lang="en-US" sz="1266" dirty="0" err="1">
                <a:latin typeface="Century Gothic" panose="020B0502020202020204" pitchFamily="34" charset="0"/>
              </a:rPr>
              <a:t>Lic</a:t>
            </a:r>
            <a:r>
              <a:rPr lang="en-US" sz="1266" dirty="0">
                <a:latin typeface="Century Gothic" panose="020B0502020202020204" pitchFamily="34" charset="0"/>
              </a:rPr>
              <a:t>.</a:t>
            </a:r>
          </a:p>
          <a:p>
            <a:pPr algn="ctr">
              <a:lnSpc>
                <a:spcPts val="1773"/>
              </a:lnSpc>
            </a:pPr>
            <a:r>
              <a:rPr lang="en-US" sz="1266" dirty="0" err="1">
                <a:latin typeface="Century Gothic" panose="020B0502020202020204" pitchFamily="34" charset="0"/>
              </a:rPr>
              <a:t>Mercadotecnia</a:t>
            </a:r>
            <a:endParaRPr lang="en-US" sz="1266" dirty="0">
              <a:latin typeface="Century Gothic" panose="020B0502020202020204" pitchFamily="34" charset="0"/>
            </a:endParaRPr>
          </a:p>
          <a:p>
            <a:pPr algn="ctr">
              <a:lnSpc>
                <a:spcPts val="1773"/>
              </a:lnSpc>
            </a:pPr>
            <a:endParaRPr lang="en-US" sz="1266" dirty="0">
              <a:latin typeface="Century Gothic" panose="020B0502020202020204" pitchFamily="34" charset="0"/>
            </a:endParaRP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TEMAS DE INTERÉS</a:t>
            </a: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Moda-LifeStyle</a:t>
            </a:r>
            <a:r>
              <a:rPr lang="en-US" sz="1266" dirty="0">
                <a:latin typeface="Century Gothic" panose="020B0502020202020204" pitchFamily="34" charset="0"/>
              </a:rPr>
              <a:t>-</a:t>
            </a: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Motivacion-Viajes-Baile</a:t>
            </a:r>
            <a:r>
              <a:rPr lang="en-US" sz="1266" dirty="0">
                <a:latin typeface="Century Gothic" panose="020B0502020202020204" pitchFamily="34" charset="0"/>
              </a:rPr>
              <a:t>-</a:t>
            </a: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Musica</a:t>
            </a:r>
            <a:r>
              <a:rPr lang="en-US" sz="1266" dirty="0">
                <a:latin typeface="Century Gothic" panose="020B0502020202020204" pitchFamily="34" charset="0"/>
              </a:rPr>
              <a:t>-TECNOLOGIA</a:t>
            </a:r>
          </a:p>
          <a:p>
            <a:pPr algn="ctr">
              <a:lnSpc>
                <a:spcPts val="1773"/>
              </a:lnSpc>
            </a:pPr>
            <a:endParaRPr lang="en-US" sz="1266" dirty="0">
              <a:latin typeface="Century Gothic" panose="020B0502020202020204" pitchFamily="34" charset="0"/>
            </a:endParaRPr>
          </a:p>
        </p:txBody>
      </p:sp>
      <p:sp>
        <p:nvSpPr>
          <p:cNvPr id="32" name="TextBox 10">
            <a:extLst>
              <a:ext uri="{FF2B5EF4-FFF2-40B4-BE49-F238E27FC236}">
                <a16:creationId xmlns:a16="http://schemas.microsoft.com/office/drawing/2014/main" id="{FFC89FFD-1136-6B4E-BD00-230186E3DC0D}"/>
              </a:ext>
            </a:extLst>
          </p:cNvPr>
          <p:cNvSpPr txBox="1"/>
          <p:nvPr/>
        </p:nvSpPr>
        <p:spPr>
          <a:xfrm>
            <a:off x="3347133" y="2321441"/>
            <a:ext cx="2360836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latin typeface="Century Gothic" panose="020B0502020202020204" pitchFamily="34" charset="0"/>
              </a:rPr>
              <a:t>Allison Mejia :El </a:t>
            </a:r>
            <a:r>
              <a:rPr lang="en-US" sz="1200" dirty="0" err="1">
                <a:latin typeface="Century Gothic" panose="020B0502020202020204" pitchFamily="34" charset="0"/>
              </a:rPr>
              <a:t>objetivo</a:t>
            </a:r>
            <a:r>
              <a:rPr lang="en-US" sz="1200" dirty="0">
                <a:latin typeface="Century Gothic" panose="020B0502020202020204" pitchFamily="34" charset="0"/>
              </a:rPr>
              <a:t> de </a:t>
            </a:r>
            <a:r>
              <a:rPr lang="en-US" sz="1200" dirty="0" err="1">
                <a:latin typeface="Century Gothic" panose="020B0502020202020204" pitchFamily="34" charset="0"/>
              </a:rPr>
              <a:t>comunicación</a:t>
            </a:r>
            <a:r>
              <a:rPr lang="en-US" sz="1200" dirty="0">
                <a:latin typeface="Century Gothic" panose="020B0502020202020204" pitchFamily="34" charset="0"/>
              </a:rPr>
              <a:t>   es ser una </a:t>
            </a:r>
            <a:r>
              <a:rPr lang="en-US" sz="1200" dirty="0" err="1">
                <a:latin typeface="Century Gothic" panose="020B0502020202020204" pitchFamily="34" charset="0"/>
              </a:rPr>
              <a:t>fuente</a:t>
            </a:r>
            <a:r>
              <a:rPr lang="en-US" sz="1200" dirty="0">
                <a:latin typeface="Century Gothic" panose="020B0502020202020204" pitchFamily="34" charset="0"/>
              </a:rPr>
              <a:t> de </a:t>
            </a:r>
            <a:r>
              <a:rPr lang="en-US" sz="1200" dirty="0" err="1">
                <a:latin typeface="Century Gothic" panose="020B0502020202020204" pitchFamily="34" charset="0"/>
              </a:rPr>
              <a:t>educación</a:t>
            </a:r>
            <a:r>
              <a:rPr lang="en-US" sz="1200" dirty="0">
                <a:latin typeface="Century Gothic" panose="020B0502020202020204" pitchFamily="34" charset="0"/>
              </a:rPr>
              <a:t> a </a:t>
            </a:r>
            <a:r>
              <a:rPr lang="en-US" sz="1200" dirty="0" err="1">
                <a:latin typeface="Century Gothic" panose="020B0502020202020204" pitchFamily="34" charset="0"/>
              </a:rPr>
              <a:t>través</a:t>
            </a:r>
            <a:r>
              <a:rPr lang="en-US" sz="1200" dirty="0">
                <a:latin typeface="Century Gothic" panose="020B0502020202020204" pitchFamily="34" charset="0"/>
              </a:rPr>
              <a:t> de </a:t>
            </a:r>
            <a:r>
              <a:rPr lang="en-US" sz="1200" dirty="0" err="1">
                <a:latin typeface="Century Gothic" panose="020B0502020202020204" pitchFamily="34" charset="0"/>
              </a:rPr>
              <a:t>uso</a:t>
            </a:r>
            <a:r>
              <a:rPr lang="en-US" sz="1200" dirty="0">
                <a:latin typeface="Century Gothic" panose="020B0502020202020204" pitchFamily="34" charset="0"/>
              </a:rPr>
              <a:t> de </a:t>
            </a:r>
            <a:r>
              <a:rPr lang="en-US" sz="1200" dirty="0" err="1">
                <a:latin typeface="Century Gothic" panose="020B0502020202020204" pitchFamily="34" charset="0"/>
              </a:rPr>
              <a:t>testimoniales</a:t>
            </a:r>
            <a:r>
              <a:rPr lang="en-US" sz="1200" dirty="0">
                <a:latin typeface="Century Gothic" panose="020B0502020202020204" pitchFamily="34" charset="0"/>
              </a:rPr>
              <a:t>, </a:t>
            </a:r>
            <a:r>
              <a:rPr lang="en-US" sz="1200" dirty="0" err="1">
                <a:latin typeface="Century Gothic" panose="020B0502020202020204" pitchFamily="34" charset="0"/>
              </a:rPr>
              <a:t>exponiendo</a:t>
            </a:r>
            <a:r>
              <a:rPr lang="en-US" sz="1200" dirty="0">
                <a:latin typeface="Century Gothic" panose="020B0502020202020204" pitchFamily="34" charset="0"/>
              </a:rPr>
              <a:t> </a:t>
            </a:r>
            <a:r>
              <a:rPr lang="en-US" sz="1200" dirty="0" err="1">
                <a:latin typeface="Century Gothic" panose="020B0502020202020204" pitchFamily="34" charset="0"/>
              </a:rPr>
              <a:t>su</a:t>
            </a:r>
            <a:r>
              <a:rPr lang="en-US" sz="1200" dirty="0">
                <a:latin typeface="Century Gothic" panose="020B0502020202020204" pitchFamily="34" charset="0"/>
              </a:rPr>
              <a:t> </a:t>
            </a:r>
            <a:r>
              <a:rPr lang="en-US" sz="1200" dirty="0" err="1">
                <a:latin typeface="Century Gothic" panose="020B0502020202020204" pitchFamily="34" charset="0"/>
              </a:rPr>
              <a:t>experiencia</a:t>
            </a:r>
            <a:r>
              <a:rPr lang="en-US" sz="1200" dirty="0">
                <a:latin typeface="Century Gothic" panose="020B0502020202020204" pitchFamily="34" charset="0"/>
              </a:rPr>
              <a:t> con el </a:t>
            </a:r>
            <a:r>
              <a:rPr lang="en-US" sz="1200" dirty="0" err="1">
                <a:latin typeface="Century Gothic" panose="020B0502020202020204" pitchFamily="34" charset="0"/>
              </a:rPr>
              <a:t>uso</a:t>
            </a:r>
            <a:r>
              <a:rPr lang="en-US" sz="1200" dirty="0">
                <a:latin typeface="Century Gothic" panose="020B0502020202020204" pitchFamily="34" charset="0"/>
              </a:rPr>
              <a:t> del </a:t>
            </a:r>
            <a:r>
              <a:rPr lang="en-US" sz="1200" dirty="0" err="1">
                <a:latin typeface="Century Gothic" panose="020B0502020202020204" pitchFamily="34" charset="0"/>
              </a:rPr>
              <a:t>producto</a:t>
            </a:r>
            <a:r>
              <a:rPr lang="en-US" sz="1400" dirty="0">
                <a:latin typeface="Century Gothic" panose="020B0502020202020204" pitchFamily="34" charset="0"/>
              </a:rPr>
              <a:t>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18545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>
            <a:extLst>
              <a:ext uri="{FF2B5EF4-FFF2-40B4-BE49-F238E27FC236}">
                <a16:creationId xmlns:a16="http://schemas.microsoft.com/office/drawing/2014/main" id="{0203D953-07AC-3DAD-926F-39319647605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19116" t="6339" b="25454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AA744B-5793-D28B-04AF-BEF4E99ED8B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>
                <a:solidFill>
                  <a:schemeClr val="tx1"/>
                </a:solidFill>
              </a:rPr>
              <a:pPr/>
              <a:t>7</a:t>
            </a:fld>
            <a:endParaRPr lang="en-GB">
              <a:solidFill>
                <a:schemeClr val="tx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D60C965-EACB-AF80-1F2F-4FE076C748A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4877"/>
          <a:stretch/>
        </p:blipFill>
        <p:spPr>
          <a:xfrm>
            <a:off x="0" y="3491352"/>
            <a:ext cx="4836576" cy="10104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8956634-FD66-55E5-9422-3168AC881E12}"/>
              </a:ext>
            </a:extLst>
          </p:cNvPr>
          <p:cNvSpPr txBox="1"/>
          <p:nvPr/>
        </p:nvSpPr>
        <p:spPr>
          <a:xfrm>
            <a:off x="5683360" y="3491352"/>
            <a:ext cx="462017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0"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THANK YOU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FACCDD-A159-11A7-25D4-0470CF8BF4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" r="89662"/>
          <a:stretch/>
        </p:blipFill>
        <p:spPr>
          <a:xfrm>
            <a:off x="11295946" y="3491352"/>
            <a:ext cx="904407" cy="101047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2B617A-C70B-E681-3C3E-6D9962763D2C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8AC35BE4-9D90-C83B-09B3-FA8038676F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61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ayer x EM Template">
  <a:themeElements>
    <a:clrScheme name="Bayer 2023">
      <a:dk1>
        <a:srgbClr val="000000"/>
      </a:dk1>
      <a:lt1>
        <a:srgbClr val="FFFFFF"/>
      </a:lt1>
      <a:dk2>
        <a:srgbClr val="00BCFF"/>
      </a:dk2>
      <a:lt2>
        <a:srgbClr val="F5F5F5"/>
      </a:lt2>
      <a:accent1>
        <a:srgbClr val="00BCFF"/>
      </a:accent1>
      <a:accent2>
        <a:srgbClr val="89D328"/>
      </a:accent2>
      <a:accent3>
        <a:srgbClr val="3353D0"/>
      </a:accent3>
      <a:accent4>
        <a:srgbClr val="61E1E0"/>
      </a:accent4>
      <a:accent5>
        <a:srgbClr val="FC3D80"/>
      </a:accent5>
      <a:accent6>
        <a:srgbClr val="E2DBD7"/>
      </a:accent6>
      <a:hlink>
        <a:srgbClr val="00BCFF"/>
      </a:hlink>
      <a:folHlink>
        <a:srgbClr val="00BCFF"/>
      </a:folHlink>
    </a:clrScheme>
    <a:fontScheme name="Test">
      <a:majorFont>
        <a:latin typeface="Poppins-SemiBold"/>
        <a:ea typeface=""/>
        <a:cs typeface=""/>
      </a:majorFont>
      <a:minorFont>
        <a:latin typeface="Poppi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gradFill flip="none" rotWithShape="1">
            <a:gsLst>
              <a:gs pos="0">
                <a:schemeClr val="accent2"/>
              </a:gs>
              <a:gs pos="99000">
                <a:schemeClr val="tx2"/>
              </a:gs>
            </a:gsLst>
            <a:lin ang="0" scaled="1"/>
            <a:tileRect/>
          </a:gra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94F34BE25844A86FA9DAE1C52FEF1" ma:contentTypeVersion="16" ma:contentTypeDescription="Create a new document." ma:contentTypeScope="" ma:versionID="0d11d6f25eccfdb65008e43f9fc87a79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12867037fb90038efca3950b7f6165db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09161F-846A-4C10-9E69-A82A45711D9D}">
  <ds:schemaRefs>
    <ds:schemaRef ds:uri="642023b6-027f-42b2-ae3f-68219e5a4115"/>
    <ds:schemaRef ds:uri="ddd732a4-5925-4a41-9a76-3e713d750e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34DBA1F-0D4B-4898-AA87-1771EA4B27A1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3</TotalTime>
  <Words>462</Words>
  <Application>Microsoft Macintosh PowerPoint</Application>
  <PresentationFormat>Panorámica</PresentationFormat>
  <Paragraphs>149</Paragraphs>
  <Slides>7</Slides>
  <Notes>1</Notes>
  <HiddenSlides>0</HiddenSlides>
  <MMClips>2</MMClips>
  <ScaleCrop>false</ScaleCrop>
  <HeadingPairs>
    <vt:vector size="6" baseType="variant">
      <vt:variant>
        <vt:lpstr>Fuentes usadas</vt:lpstr>
      </vt:variant>
      <vt:variant>
        <vt:i4>12</vt:i4>
      </vt:variant>
      <vt:variant>
        <vt:lpstr>Tema</vt:lpstr>
      </vt:variant>
      <vt:variant>
        <vt:i4>11</vt:i4>
      </vt:variant>
      <vt:variant>
        <vt:lpstr>Títulos de diapositiva</vt:lpstr>
      </vt:variant>
      <vt:variant>
        <vt:i4>7</vt:i4>
      </vt:variant>
    </vt:vector>
  </HeadingPairs>
  <TitlesOfParts>
    <vt:vector size="30" baseType="lpstr">
      <vt:lpstr>Arial</vt:lpstr>
      <vt:lpstr>Calibri</vt:lpstr>
      <vt:lpstr>Century Gothic</vt:lpstr>
      <vt:lpstr>Georgia Pro Light</vt:lpstr>
      <vt:lpstr>Poppins</vt:lpstr>
      <vt:lpstr>Poppins ExtraLight</vt:lpstr>
      <vt:lpstr>Poppins Light</vt:lpstr>
      <vt:lpstr>Poppins SemiBold</vt:lpstr>
      <vt:lpstr>Poppins Thin</vt:lpstr>
      <vt:lpstr>Poppins-Regular</vt:lpstr>
      <vt:lpstr>Poppins-SemiBold</vt:lpstr>
      <vt:lpstr>System Font Regular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emTemplate // Jan 2023</vt:lpstr>
      <vt:lpstr>3_Bayer x MC // June 2021</vt:lpstr>
      <vt:lpstr>1_Bayer x MC // June 2021</vt:lpstr>
      <vt:lpstr>Bayer x EM Template</vt:lpstr>
      <vt:lpstr>MEDIA MIX</vt:lpstr>
      <vt:lpstr>Presentación de PowerPoint</vt:lpstr>
      <vt:lpstr>Alcance TV, M 12-25</vt:lpstr>
      <vt:lpstr>TV Patrocinio eventos</vt:lpstr>
      <vt:lpstr>TV Exposiciones interactivas</vt:lpstr>
      <vt:lpstr>TV Influencer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34</cp:revision>
  <dcterms:created xsi:type="dcterms:W3CDTF">2023-05-24T18:22:33Z</dcterms:created>
  <dcterms:modified xsi:type="dcterms:W3CDTF">2024-10-14T03:4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